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3.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4.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5.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6.xml" ContentType="application/vnd.openxmlformats-officedocument.theme+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7" r:id="rId5"/>
    <p:sldMasterId id="2147483694" r:id="rId6"/>
    <p:sldMasterId id="2147483703" r:id="rId7"/>
    <p:sldMasterId id="2147483712" r:id="rId8"/>
    <p:sldMasterId id="2147483721" r:id="rId9"/>
    <p:sldMasterId id="2147483730" r:id="rId10"/>
    <p:sldMasterId id="2147483770" r:id="rId11"/>
  </p:sldMasterIdLst>
  <p:notesMasterIdLst>
    <p:notesMasterId r:id="rId34"/>
  </p:notesMasterIdLst>
  <p:sldIdLst>
    <p:sldId id="2076136954" r:id="rId12"/>
    <p:sldId id="2076137142" r:id="rId13"/>
    <p:sldId id="2076136940" r:id="rId14"/>
    <p:sldId id="2076136939" r:id="rId15"/>
    <p:sldId id="2076137163" r:id="rId16"/>
    <p:sldId id="2076137143" r:id="rId17"/>
    <p:sldId id="2076136936" r:id="rId18"/>
    <p:sldId id="2076137119" r:id="rId19"/>
    <p:sldId id="2076136937" r:id="rId20"/>
    <p:sldId id="257" r:id="rId21"/>
    <p:sldId id="2076137144" r:id="rId22"/>
    <p:sldId id="2076137145" r:id="rId23"/>
    <p:sldId id="2076137147" r:id="rId24"/>
    <p:sldId id="2076137205" r:id="rId25"/>
    <p:sldId id="2076136951" r:id="rId26"/>
    <p:sldId id="2076136955" r:id="rId27"/>
    <p:sldId id="2076136956" r:id="rId28"/>
    <p:sldId id="2076137203" r:id="rId29"/>
    <p:sldId id="2076137204" r:id="rId30"/>
    <p:sldId id="2076137130" r:id="rId31"/>
    <p:sldId id="2076137127" r:id="rId32"/>
    <p:sldId id="2076137126" r:id="rId3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344B877-4CE8-4877-AF5B-2108E7E1F6EB}" v="654" dt="2024-04-29T18:28:46.62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9540" autoAdjust="0"/>
    <p:restoredTop sz="82139" autoAdjust="0"/>
  </p:normalViewPr>
  <p:slideViewPr>
    <p:cSldViewPr snapToGrid="0">
      <p:cViewPr varScale="1">
        <p:scale>
          <a:sx n="90" d="100"/>
          <a:sy n="90" d="100"/>
        </p:scale>
        <p:origin x="1050" y="84"/>
      </p:cViewPr>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varScale="1">
        <p:scale>
          <a:sx n="87" d="100"/>
          <a:sy n="87" d="100"/>
        </p:scale>
        <p:origin x="3840" y="66"/>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microsoft.com/office/2016/11/relationships/changesInfo" Target="changesInfos/changesInfo1.xml"/><Relationship Id="rId3" Type="http://schemas.openxmlformats.org/officeDocument/2006/relationships/customXml" Target="../customXml/item3.xml"/><Relationship Id="rId21" Type="http://schemas.openxmlformats.org/officeDocument/2006/relationships/slide" Target="slides/slide10.xml"/><Relationship Id="rId34" Type="http://schemas.openxmlformats.org/officeDocument/2006/relationships/notesMaster" Target="notesMasters/notesMaster1.xml"/><Relationship Id="rId7" Type="http://schemas.openxmlformats.org/officeDocument/2006/relationships/slideMaster" Target="slideMasters/slideMaster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Master" Target="slideMasters/slideMaster7.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theme" Target="theme/theme1.xml"/><Relationship Id="rId40" Type="http://schemas.microsoft.com/office/2015/10/relationships/revisionInfo" Target="revisionInfo.xml"/><Relationship Id="rId5" Type="http://schemas.openxmlformats.org/officeDocument/2006/relationships/slideMaster" Target="slideMasters/slideMaster1.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viewProps" Target="viewProps.xml"/><Relationship Id="rId10" Type="http://schemas.openxmlformats.org/officeDocument/2006/relationships/slideMaster" Target="slideMasters/slideMaster6.xml"/><Relationship Id="rId19" Type="http://schemas.openxmlformats.org/officeDocument/2006/relationships/slide" Target="slides/slide8.xml"/><Relationship Id="rId31" Type="http://schemas.openxmlformats.org/officeDocument/2006/relationships/slide" Target="slides/slide20.xml"/><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aren M Jensen" userId="ccc4eb8e-5dc8-4d39-8cbe-837fa13718e3" providerId="ADAL" clId="{1344B877-4CE8-4877-AF5B-2108E7E1F6EB}"/>
    <pc:docChg chg="undo custSel addSld delSld modSld sldOrd delMainMaster modMainMaster">
      <pc:chgData name="Karen M Jensen" userId="ccc4eb8e-5dc8-4d39-8cbe-837fa13718e3" providerId="ADAL" clId="{1344B877-4CE8-4877-AF5B-2108E7E1F6EB}" dt="2024-04-29T18:44:04.743" v="6353" actId="1035"/>
      <pc:docMkLst>
        <pc:docMk/>
      </pc:docMkLst>
      <pc:sldChg chg="addSp modSp mod modClrScheme chgLayout">
        <pc:chgData name="Karen M Jensen" userId="ccc4eb8e-5dc8-4d39-8cbe-837fa13718e3" providerId="ADAL" clId="{1344B877-4CE8-4877-AF5B-2108E7E1F6EB}" dt="2024-04-23T16:54:40.452" v="1728" actId="207"/>
        <pc:sldMkLst>
          <pc:docMk/>
          <pc:sldMk cId="51454250" sldId="257"/>
        </pc:sldMkLst>
        <pc:spChg chg="mod ord">
          <ac:chgData name="Karen M Jensen" userId="ccc4eb8e-5dc8-4d39-8cbe-837fa13718e3" providerId="ADAL" clId="{1344B877-4CE8-4877-AF5B-2108E7E1F6EB}" dt="2024-04-23T16:53:04.218" v="1683" actId="108"/>
          <ac:spMkLst>
            <pc:docMk/>
            <pc:sldMk cId="51454250" sldId="257"/>
            <ac:spMk id="2" creationId="{99071B59-BD1F-3C87-A47D-3EEB7D134CF8}"/>
          </ac:spMkLst>
        </pc:spChg>
        <pc:spChg chg="add mod">
          <ac:chgData name="Karen M Jensen" userId="ccc4eb8e-5dc8-4d39-8cbe-837fa13718e3" providerId="ADAL" clId="{1344B877-4CE8-4877-AF5B-2108E7E1F6EB}" dt="2024-04-23T16:54:02.300" v="1689" actId="1582"/>
          <ac:spMkLst>
            <pc:docMk/>
            <pc:sldMk cId="51454250" sldId="257"/>
            <ac:spMk id="3" creationId="{391EDDB5-0254-BC9C-1D84-9848EA6BC63A}"/>
          </ac:spMkLst>
        </pc:spChg>
        <pc:spChg chg="mod">
          <ac:chgData name="Karen M Jensen" userId="ccc4eb8e-5dc8-4d39-8cbe-837fa13718e3" providerId="ADAL" clId="{1344B877-4CE8-4877-AF5B-2108E7E1F6EB}" dt="2024-04-23T16:53:14.369" v="1685" actId="1076"/>
          <ac:spMkLst>
            <pc:docMk/>
            <pc:sldMk cId="51454250" sldId="257"/>
            <ac:spMk id="5" creationId="{F5ABC086-884B-BCC4-8DC5-AD4748271355}"/>
          </ac:spMkLst>
        </pc:spChg>
        <pc:spChg chg="add mod">
          <ac:chgData name="Karen M Jensen" userId="ccc4eb8e-5dc8-4d39-8cbe-837fa13718e3" providerId="ADAL" clId="{1344B877-4CE8-4877-AF5B-2108E7E1F6EB}" dt="2024-04-23T16:54:40.452" v="1728" actId="207"/>
          <ac:spMkLst>
            <pc:docMk/>
            <pc:sldMk cId="51454250" sldId="257"/>
            <ac:spMk id="6" creationId="{FE7DF646-CDA9-36C9-9255-087869114B66}"/>
          </ac:spMkLst>
        </pc:spChg>
        <pc:graphicFrameChg chg="mod ord">
          <ac:chgData name="Karen M Jensen" userId="ccc4eb8e-5dc8-4d39-8cbe-837fa13718e3" providerId="ADAL" clId="{1344B877-4CE8-4877-AF5B-2108E7E1F6EB}" dt="2024-04-23T16:52:51.673" v="1682" actId="1076"/>
          <ac:graphicFrameMkLst>
            <pc:docMk/>
            <pc:sldMk cId="51454250" sldId="257"/>
            <ac:graphicFrameMk id="4" creationId="{B95AEA0D-47BA-7F08-E245-3E52F6547AA5}"/>
          </ac:graphicFrameMkLst>
        </pc:graphicFrameChg>
      </pc:sldChg>
      <pc:sldChg chg="modSp del mod ord modClrScheme modShow chgLayout">
        <pc:chgData name="Karen M Jensen" userId="ccc4eb8e-5dc8-4d39-8cbe-837fa13718e3" providerId="ADAL" clId="{1344B877-4CE8-4877-AF5B-2108E7E1F6EB}" dt="2024-04-29T18:20:17.814" v="4557" actId="47"/>
        <pc:sldMkLst>
          <pc:docMk/>
          <pc:sldMk cId="120941459" sldId="328"/>
        </pc:sldMkLst>
        <pc:spChg chg="mod ord">
          <ac:chgData name="Karen M Jensen" userId="ccc4eb8e-5dc8-4d39-8cbe-837fa13718e3" providerId="ADAL" clId="{1344B877-4CE8-4877-AF5B-2108E7E1F6EB}" dt="2024-04-23T16:47:48.681" v="1583" actId="20577"/>
          <ac:spMkLst>
            <pc:docMk/>
            <pc:sldMk cId="120941459" sldId="328"/>
            <ac:spMk id="2" creationId="{C63CBC44-ED20-D621-502D-A1E3C52361C5}"/>
          </ac:spMkLst>
        </pc:spChg>
      </pc:sldChg>
      <pc:sldChg chg="modSp del mod ord modClrScheme chgLayout">
        <pc:chgData name="Karen M Jensen" userId="ccc4eb8e-5dc8-4d39-8cbe-837fa13718e3" providerId="ADAL" clId="{1344B877-4CE8-4877-AF5B-2108E7E1F6EB}" dt="2024-04-29T18:20:20.193" v="4558" actId="47"/>
        <pc:sldMkLst>
          <pc:docMk/>
          <pc:sldMk cId="2601289685" sldId="2076136897"/>
        </pc:sldMkLst>
        <pc:spChg chg="mod ord">
          <ac:chgData name="Karen M Jensen" userId="ccc4eb8e-5dc8-4d39-8cbe-837fa13718e3" providerId="ADAL" clId="{1344B877-4CE8-4877-AF5B-2108E7E1F6EB}" dt="2024-04-23T16:34:07.158" v="711" actId="27636"/>
          <ac:spMkLst>
            <pc:docMk/>
            <pc:sldMk cId="2601289685" sldId="2076136897"/>
            <ac:spMk id="2" creationId="{9FA5BBF1-147A-4A33-8494-9795E60082C0}"/>
          </ac:spMkLst>
        </pc:spChg>
      </pc:sldChg>
      <pc:sldChg chg="addSp delSp modSp mod ord modClrScheme modAnim chgLayout modNotesTx">
        <pc:chgData name="Karen M Jensen" userId="ccc4eb8e-5dc8-4d39-8cbe-837fa13718e3" providerId="ADAL" clId="{1344B877-4CE8-4877-AF5B-2108E7E1F6EB}" dt="2024-04-25T13:47:44.822" v="2464" actId="6549"/>
        <pc:sldMkLst>
          <pc:docMk/>
          <pc:sldMk cId="2776181133" sldId="2076136936"/>
        </pc:sldMkLst>
        <pc:spChg chg="add mod ord">
          <ac:chgData name="Karen M Jensen" userId="ccc4eb8e-5dc8-4d39-8cbe-837fa13718e3" providerId="ADAL" clId="{1344B877-4CE8-4877-AF5B-2108E7E1F6EB}" dt="2024-04-23T16:35:20.779" v="732" actId="20577"/>
          <ac:spMkLst>
            <pc:docMk/>
            <pc:sldMk cId="2776181133" sldId="2076136936"/>
            <ac:spMk id="2" creationId="{6E897E32-82BB-18BA-EC5B-2EFC160AF7C5}"/>
          </ac:spMkLst>
        </pc:spChg>
        <pc:spChg chg="mod topLvl">
          <ac:chgData name="Karen M Jensen" userId="ccc4eb8e-5dc8-4d39-8cbe-837fa13718e3" providerId="ADAL" clId="{1344B877-4CE8-4877-AF5B-2108E7E1F6EB}" dt="2024-04-25T13:46:37.876" v="2462" actId="164"/>
          <ac:spMkLst>
            <pc:docMk/>
            <pc:sldMk cId="2776181133" sldId="2076136936"/>
            <ac:spMk id="25" creationId="{789C4BD9-61BC-45B2-9AE3-27FD5A532DFC}"/>
          </ac:spMkLst>
        </pc:spChg>
        <pc:spChg chg="mod">
          <ac:chgData name="Karen M Jensen" userId="ccc4eb8e-5dc8-4d39-8cbe-837fa13718e3" providerId="ADAL" clId="{1344B877-4CE8-4877-AF5B-2108E7E1F6EB}" dt="2024-04-25T13:46:37.876" v="2462" actId="164"/>
          <ac:spMkLst>
            <pc:docMk/>
            <pc:sldMk cId="2776181133" sldId="2076136936"/>
            <ac:spMk id="29" creationId="{0C416314-0F27-4349-A41F-1B32C75A19B2}"/>
          </ac:spMkLst>
        </pc:spChg>
        <pc:spChg chg="mod">
          <ac:chgData name="Karen M Jensen" userId="ccc4eb8e-5dc8-4d39-8cbe-837fa13718e3" providerId="ADAL" clId="{1344B877-4CE8-4877-AF5B-2108E7E1F6EB}" dt="2024-04-25T13:46:37.876" v="2462" actId="164"/>
          <ac:spMkLst>
            <pc:docMk/>
            <pc:sldMk cId="2776181133" sldId="2076136936"/>
            <ac:spMk id="30" creationId="{9DF8A888-8AF8-4910-8C62-118BB676CB1A}"/>
          </ac:spMkLst>
        </pc:spChg>
        <pc:spChg chg="mod">
          <ac:chgData name="Karen M Jensen" userId="ccc4eb8e-5dc8-4d39-8cbe-837fa13718e3" providerId="ADAL" clId="{1344B877-4CE8-4877-AF5B-2108E7E1F6EB}" dt="2024-04-25T13:46:37.876" v="2462" actId="164"/>
          <ac:spMkLst>
            <pc:docMk/>
            <pc:sldMk cId="2776181133" sldId="2076136936"/>
            <ac:spMk id="31" creationId="{6EB4BF2C-F0F9-42E9-9D53-9C660F69A345}"/>
          </ac:spMkLst>
        </pc:spChg>
        <pc:spChg chg="del mod">
          <ac:chgData name="Karen M Jensen" userId="ccc4eb8e-5dc8-4d39-8cbe-837fa13718e3" providerId="ADAL" clId="{1344B877-4CE8-4877-AF5B-2108E7E1F6EB}" dt="2024-04-23T16:35:17.777" v="730" actId="478"/>
          <ac:spMkLst>
            <pc:docMk/>
            <pc:sldMk cId="2776181133" sldId="2076136936"/>
            <ac:spMk id="42" creationId="{BA6F198D-DA2D-4E3E-8EFD-9F996385AE38}"/>
          </ac:spMkLst>
        </pc:spChg>
        <pc:grpChg chg="add mod">
          <ac:chgData name="Karen M Jensen" userId="ccc4eb8e-5dc8-4d39-8cbe-837fa13718e3" providerId="ADAL" clId="{1344B877-4CE8-4877-AF5B-2108E7E1F6EB}" dt="2024-04-25T13:46:37.876" v="2462" actId="164"/>
          <ac:grpSpMkLst>
            <pc:docMk/>
            <pc:sldMk cId="2776181133" sldId="2076136936"/>
            <ac:grpSpMk id="3" creationId="{8C1F7BEF-025E-3C0C-DC3D-D5896F79A8E1}"/>
          </ac:grpSpMkLst>
        </pc:grpChg>
        <pc:grpChg chg="del">
          <ac:chgData name="Karen M Jensen" userId="ccc4eb8e-5dc8-4d39-8cbe-837fa13718e3" providerId="ADAL" clId="{1344B877-4CE8-4877-AF5B-2108E7E1F6EB}" dt="2024-04-25T13:46:05.804" v="2461" actId="165"/>
          <ac:grpSpMkLst>
            <pc:docMk/>
            <pc:sldMk cId="2776181133" sldId="2076136936"/>
            <ac:grpSpMk id="23" creationId="{7009E3C8-F731-4C2B-869A-7E675DC32041}"/>
          </ac:grpSpMkLst>
        </pc:grpChg>
        <pc:grpChg chg="mod">
          <ac:chgData name="Karen M Jensen" userId="ccc4eb8e-5dc8-4d39-8cbe-837fa13718e3" providerId="ADAL" clId="{1344B877-4CE8-4877-AF5B-2108E7E1F6EB}" dt="2024-04-25T13:46:37.876" v="2462" actId="164"/>
          <ac:grpSpMkLst>
            <pc:docMk/>
            <pc:sldMk cId="2776181133" sldId="2076136936"/>
            <ac:grpSpMk id="26" creationId="{47B6C726-FBA4-4D6F-A3CF-829E2363156B}"/>
          </ac:grpSpMkLst>
        </pc:grpChg>
        <pc:picChg chg="mod topLvl">
          <ac:chgData name="Karen M Jensen" userId="ccc4eb8e-5dc8-4d39-8cbe-837fa13718e3" providerId="ADAL" clId="{1344B877-4CE8-4877-AF5B-2108E7E1F6EB}" dt="2024-04-25T13:46:37.876" v="2462" actId="164"/>
          <ac:picMkLst>
            <pc:docMk/>
            <pc:sldMk cId="2776181133" sldId="2076136936"/>
            <ac:picMk id="24" creationId="{9AD079C0-918E-4216-BB92-95F31861634A}"/>
          </ac:picMkLst>
        </pc:picChg>
      </pc:sldChg>
      <pc:sldChg chg="addSp delSp modSp mod modClrScheme delAnim modAnim chgLayout modNotesTx">
        <pc:chgData name="Karen M Jensen" userId="ccc4eb8e-5dc8-4d39-8cbe-837fa13718e3" providerId="ADAL" clId="{1344B877-4CE8-4877-AF5B-2108E7E1F6EB}" dt="2024-04-25T13:44:00.802" v="2459"/>
        <pc:sldMkLst>
          <pc:docMk/>
          <pc:sldMk cId="3702719452" sldId="2076136937"/>
        </pc:sldMkLst>
        <pc:spChg chg="mod">
          <ac:chgData name="Karen M Jensen" userId="ccc4eb8e-5dc8-4d39-8cbe-837fa13718e3" providerId="ADAL" clId="{1344B877-4CE8-4877-AF5B-2108E7E1F6EB}" dt="2024-04-23T16:50:32.915" v="1666" actId="20577"/>
          <ac:spMkLst>
            <pc:docMk/>
            <pc:sldMk cId="3702719452" sldId="2076136937"/>
            <ac:spMk id="32" creationId="{B3C1F734-57C6-4198-8860-9DFF30BAA01C}"/>
          </ac:spMkLst>
        </pc:spChg>
        <pc:spChg chg="mod">
          <ac:chgData name="Karen M Jensen" userId="ccc4eb8e-5dc8-4d39-8cbe-837fa13718e3" providerId="ADAL" clId="{1344B877-4CE8-4877-AF5B-2108E7E1F6EB}" dt="2024-04-23T16:52:29.697" v="1679" actId="14100"/>
          <ac:spMkLst>
            <pc:docMk/>
            <pc:sldMk cId="3702719452" sldId="2076136937"/>
            <ac:spMk id="33" creationId="{CA87CD11-64DD-4F5A-8FB6-83B7F72740B8}"/>
          </ac:spMkLst>
        </pc:spChg>
        <pc:spChg chg="mod">
          <ac:chgData name="Karen M Jensen" userId="ccc4eb8e-5dc8-4d39-8cbe-837fa13718e3" providerId="ADAL" clId="{1344B877-4CE8-4877-AF5B-2108E7E1F6EB}" dt="2024-04-23T16:50:02.988" v="1623" actId="6549"/>
          <ac:spMkLst>
            <pc:docMk/>
            <pc:sldMk cId="3702719452" sldId="2076136937"/>
            <ac:spMk id="65" creationId="{29DE9741-C125-4DE1-96F7-29CA98A383CB}"/>
          </ac:spMkLst>
        </pc:spChg>
        <pc:spChg chg="add mod ord">
          <ac:chgData name="Karen M Jensen" userId="ccc4eb8e-5dc8-4d39-8cbe-837fa13718e3" providerId="ADAL" clId="{1344B877-4CE8-4877-AF5B-2108E7E1F6EB}" dt="2024-04-23T16:50:20.594" v="1651" actId="20577"/>
          <ac:spMkLst>
            <pc:docMk/>
            <pc:sldMk cId="3702719452" sldId="2076136937"/>
            <ac:spMk id="66" creationId="{1E7082E7-0182-F059-E529-C809C5880377}"/>
          </ac:spMkLst>
        </pc:spChg>
        <pc:grpChg chg="del">
          <ac:chgData name="Karen M Jensen" userId="ccc4eb8e-5dc8-4d39-8cbe-837fa13718e3" providerId="ADAL" clId="{1344B877-4CE8-4877-AF5B-2108E7E1F6EB}" dt="2024-04-23T20:23:29.336" v="2045" actId="478"/>
          <ac:grpSpMkLst>
            <pc:docMk/>
            <pc:sldMk cId="3702719452" sldId="2076136937"/>
            <ac:grpSpMk id="3" creationId="{6F10635C-879D-4C21-88AA-249DEE538927}"/>
          </ac:grpSpMkLst>
        </pc:grpChg>
        <pc:picChg chg="add mod">
          <ac:chgData name="Karen M Jensen" userId="ccc4eb8e-5dc8-4d39-8cbe-837fa13718e3" providerId="ADAL" clId="{1344B877-4CE8-4877-AF5B-2108E7E1F6EB}" dt="2024-04-23T20:23:43.242" v="2049" actId="1076"/>
          <ac:picMkLst>
            <pc:docMk/>
            <pc:sldMk cId="3702719452" sldId="2076136937"/>
            <ac:picMk id="68" creationId="{BD282502-7B67-486C-11B8-CFAC57C110AC}"/>
          </ac:picMkLst>
        </pc:picChg>
      </pc:sldChg>
      <pc:sldChg chg="addSp delSp modSp del mod ord modClrScheme chgLayout modNotesTx">
        <pc:chgData name="Karen M Jensen" userId="ccc4eb8e-5dc8-4d39-8cbe-837fa13718e3" providerId="ADAL" clId="{1344B877-4CE8-4877-AF5B-2108E7E1F6EB}" dt="2024-04-29T18:20:21.452" v="4559" actId="47"/>
        <pc:sldMkLst>
          <pc:docMk/>
          <pc:sldMk cId="1684125907" sldId="2076136938"/>
        </pc:sldMkLst>
        <pc:spChg chg="del mod">
          <ac:chgData name="Karen M Jensen" userId="ccc4eb8e-5dc8-4d39-8cbe-837fa13718e3" providerId="ADAL" clId="{1344B877-4CE8-4877-AF5B-2108E7E1F6EB}" dt="2024-04-23T16:35:55.432" v="736" actId="478"/>
          <ac:spMkLst>
            <pc:docMk/>
            <pc:sldMk cId="1684125907" sldId="2076136938"/>
            <ac:spMk id="2" creationId="{41206332-BB6F-40C3-9344-34BDD0A48061}"/>
          </ac:spMkLst>
        </pc:spChg>
        <pc:spChg chg="add mod ord">
          <ac:chgData name="Karen M Jensen" userId="ccc4eb8e-5dc8-4d39-8cbe-837fa13718e3" providerId="ADAL" clId="{1344B877-4CE8-4877-AF5B-2108E7E1F6EB}" dt="2024-04-23T16:36:05.426" v="740" actId="404"/>
          <ac:spMkLst>
            <pc:docMk/>
            <pc:sldMk cId="1684125907" sldId="2076136938"/>
            <ac:spMk id="6" creationId="{9F95A4FC-65E3-F281-9BFE-23F8AB06B782}"/>
          </ac:spMkLst>
        </pc:spChg>
      </pc:sldChg>
      <pc:sldChg chg="addSp modSp mod modClrScheme chgLayout">
        <pc:chgData name="Karen M Jensen" userId="ccc4eb8e-5dc8-4d39-8cbe-837fa13718e3" providerId="ADAL" clId="{1344B877-4CE8-4877-AF5B-2108E7E1F6EB}" dt="2024-04-23T16:33:34.543" v="707" actId="113"/>
        <pc:sldMkLst>
          <pc:docMk/>
          <pc:sldMk cId="35196326" sldId="2076136939"/>
        </pc:sldMkLst>
        <pc:spChg chg="mod">
          <ac:chgData name="Karen M Jensen" userId="ccc4eb8e-5dc8-4d39-8cbe-837fa13718e3" providerId="ADAL" clId="{1344B877-4CE8-4877-AF5B-2108E7E1F6EB}" dt="2024-04-23T16:33:23.695" v="704" actId="21"/>
          <ac:spMkLst>
            <pc:docMk/>
            <pc:sldMk cId="35196326" sldId="2076136939"/>
            <ac:spMk id="2" creationId="{8809F7EE-EC4E-4CB5-BF21-29E3B8BDD4FF}"/>
          </ac:spMkLst>
        </pc:spChg>
        <pc:spChg chg="add mod ord">
          <ac:chgData name="Karen M Jensen" userId="ccc4eb8e-5dc8-4d39-8cbe-837fa13718e3" providerId="ADAL" clId="{1344B877-4CE8-4877-AF5B-2108E7E1F6EB}" dt="2024-04-23T16:33:34.543" v="707" actId="113"/>
          <ac:spMkLst>
            <pc:docMk/>
            <pc:sldMk cId="35196326" sldId="2076136939"/>
            <ac:spMk id="10" creationId="{1DA4CD3C-9A91-616A-FB83-60DE3A3F5DD9}"/>
          </ac:spMkLst>
        </pc:spChg>
      </pc:sldChg>
      <pc:sldChg chg="modNotesTx">
        <pc:chgData name="Karen M Jensen" userId="ccc4eb8e-5dc8-4d39-8cbe-837fa13718e3" providerId="ADAL" clId="{1344B877-4CE8-4877-AF5B-2108E7E1F6EB}" dt="2024-04-23T16:29:41.359" v="648"/>
        <pc:sldMkLst>
          <pc:docMk/>
          <pc:sldMk cId="265729426" sldId="2076136940"/>
        </pc:sldMkLst>
      </pc:sldChg>
      <pc:sldChg chg="modSp del mod modAnim">
        <pc:chgData name="Karen M Jensen" userId="ccc4eb8e-5dc8-4d39-8cbe-837fa13718e3" providerId="ADAL" clId="{1344B877-4CE8-4877-AF5B-2108E7E1F6EB}" dt="2024-04-29T18:24:50.461" v="4616" actId="47"/>
        <pc:sldMkLst>
          <pc:docMk/>
          <pc:sldMk cId="3007254263" sldId="2076136943"/>
        </pc:sldMkLst>
        <pc:spChg chg="mod">
          <ac:chgData name="Karen M Jensen" userId="ccc4eb8e-5dc8-4d39-8cbe-837fa13718e3" providerId="ADAL" clId="{1344B877-4CE8-4877-AF5B-2108E7E1F6EB}" dt="2024-04-25T13:51:31.744" v="2471" actId="113"/>
          <ac:spMkLst>
            <pc:docMk/>
            <pc:sldMk cId="3007254263" sldId="2076136943"/>
            <ac:spMk id="5" creationId="{0C65ADB0-8486-8BD2-A30D-4D71069B1973}"/>
          </ac:spMkLst>
        </pc:spChg>
        <pc:spChg chg="mod">
          <ac:chgData name="Karen M Jensen" userId="ccc4eb8e-5dc8-4d39-8cbe-837fa13718e3" providerId="ADAL" clId="{1344B877-4CE8-4877-AF5B-2108E7E1F6EB}" dt="2024-04-25T13:51:33.510" v="2472" actId="113"/>
          <ac:spMkLst>
            <pc:docMk/>
            <pc:sldMk cId="3007254263" sldId="2076136943"/>
            <ac:spMk id="14" creationId="{AB65B0EB-AC2D-49CF-9592-5AA63ABFA94E}"/>
          </ac:spMkLst>
        </pc:spChg>
      </pc:sldChg>
      <pc:sldChg chg="addSp delSp modSp mod modClrScheme chgLayout">
        <pc:chgData name="Karen M Jensen" userId="ccc4eb8e-5dc8-4d39-8cbe-837fa13718e3" providerId="ADAL" clId="{1344B877-4CE8-4877-AF5B-2108E7E1F6EB}" dt="2024-04-29T18:25:14.434" v="4633" actId="20577"/>
        <pc:sldMkLst>
          <pc:docMk/>
          <pc:sldMk cId="2747687976" sldId="2076136951"/>
        </pc:sldMkLst>
        <pc:spChg chg="del mod">
          <ac:chgData name="Karen M Jensen" userId="ccc4eb8e-5dc8-4d39-8cbe-837fa13718e3" providerId="ADAL" clId="{1344B877-4CE8-4877-AF5B-2108E7E1F6EB}" dt="2024-04-29T18:25:09.647" v="4619" actId="478"/>
          <ac:spMkLst>
            <pc:docMk/>
            <pc:sldMk cId="2747687976" sldId="2076136951"/>
            <ac:spMk id="2" creationId="{5C8760E9-1E58-4A97-8529-249D7DB5EF45}"/>
          </ac:spMkLst>
        </pc:spChg>
        <pc:spChg chg="add mod ord">
          <ac:chgData name="Karen M Jensen" userId="ccc4eb8e-5dc8-4d39-8cbe-837fa13718e3" providerId="ADAL" clId="{1344B877-4CE8-4877-AF5B-2108E7E1F6EB}" dt="2024-04-29T18:25:14.434" v="4633" actId="20577"/>
          <ac:spMkLst>
            <pc:docMk/>
            <pc:sldMk cId="2747687976" sldId="2076136951"/>
            <ac:spMk id="3" creationId="{C0B35E58-1927-E503-758D-47CF90439D3E}"/>
          </ac:spMkLst>
        </pc:spChg>
      </pc:sldChg>
      <pc:sldChg chg="delSp modSp mod modClrScheme chgLayout">
        <pc:chgData name="Karen M Jensen" userId="ccc4eb8e-5dc8-4d39-8cbe-837fa13718e3" providerId="ADAL" clId="{1344B877-4CE8-4877-AF5B-2108E7E1F6EB}" dt="2024-04-23T16:14:45.888" v="39" actId="20577"/>
        <pc:sldMkLst>
          <pc:docMk/>
          <pc:sldMk cId="984776" sldId="2076136954"/>
        </pc:sldMkLst>
        <pc:spChg chg="mod ord">
          <ac:chgData name="Karen M Jensen" userId="ccc4eb8e-5dc8-4d39-8cbe-837fa13718e3" providerId="ADAL" clId="{1344B877-4CE8-4877-AF5B-2108E7E1F6EB}" dt="2024-04-23T16:14:01.699" v="4" actId="27636"/>
          <ac:spMkLst>
            <pc:docMk/>
            <pc:sldMk cId="984776" sldId="2076136954"/>
            <ac:spMk id="3" creationId="{EF8BC846-BDC1-4961-8C24-895D146AA2A3}"/>
          </ac:spMkLst>
        </pc:spChg>
        <pc:spChg chg="del mod ord">
          <ac:chgData name="Karen M Jensen" userId="ccc4eb8e-5dc8-4d39-8cbe-837fa13718e3" providerId="ADAL" clId="{1344B877-4CE8-4877-AF5B-2108E7E1F6EB}" dt="2024-04-23T16:14:24.073" v="6" actId="478"/>
          <ac:spMkLst>
            <pc:docMk/>
            <pc:sldMk cId="984776" sldId="2076136954"/>
            <ac:spMk id="4" creationId="{E8690BFC-69FE-4314-B074-13B539E15642}"/>
          </ac:spMkLst>
        </pc:spChg>
        <pc:spChg chg="mod ord">
          <ac:chgData name="Karen M Jensen" userId="ccc4eb8e-5dc8-4d39-8cbe-837fa13718e3" providerId="ADAL" clId="{1344B877-4CE8-4877-AF5B-2108E7E1F6EB}" dt="2024-04-23T16:14:45.888" v="39" actId="20577"/>
          <ac:spMkLst>
            <pc:docMk/>
            <pc:sldMk cId="984776" sldId="2076136954"/>
            <ac:spMk id="8" creationId="{86E16089-6078-497B-9CD8-AAC486AE7F8A}"/>
          </ac:spMkLst>
        </pc:spChg>
        <pc:picChg chg="del">
          <ac:chgData name="Karen M Jensen" userId="ccc4eb8e-5dc8-4d39-8cbe-837fa13718e3" providerId="ADAL" clId="{1344B877-4CE8-4877-AF5B-2108E7E1F6EB}" dt="2024-04-23T16:14:05.387" v="5" actId="478"/>
          <ac:picMkLst>
            <pc:docMk/>
            <pc:sldMk cId="984776" sldId="2076136954"/>
            <ac:picMk id="7" creationId="{668A95D9-03D3-44A3-AE3A-34802DECDE3E}"/>
          </ac:picMkLst>
        </pc:picChg>
      </pc:sldChg>
      <pc:sldChg chg="delSp modSp mod modClrScheme chgLayout">
        <pc:chgData name="Karen M Jensen" userId="ccc4eb8e-5dc8-4d39-8cbe-837fa13718e3" providerId="ADAL" clId="{1344B877-4CE8-4877-AF5B-2108E7E1F6EB}" dt="2024-04-29T15:19:22.660" v="2568" actId="26606"/>
        <pc:sldMkLst>
          <pc:docMk/>
          <pc:sldMk cId="97008471" sldId="2076136955"/>
        </pc:sldMkLst>
        <pc:spChg chg="del">
          <ac:chgData name="Karen M Jensen" userId="ccc4eb8e-5dc8-4d39-8cbe-837fa13718e3" providerId="ADAL" clId="{1344B877-4CE8-4877-AF5B-2108E7E1F6EB}" dt="2024-04-29T15:19:17.376" v="2567" actId="478"/>
          <ac:spMkLst>
            <pc:docMk/>
            <pc:sldMk cId="97008471" sldId="2076136955"/>
            <ac:spMk id="4" creationId="{9370061D-AE93-4784-A9D1-BF22B60AFE32}"/>
          </ac:spMkLst>
        </pc:spChg>
        <pc:spChg chg="del">
          <ac:chgData name="Karen M Jensen" userId="ccc4eb8e-5dc8-4d39-8cbe-837fa13718e3" providerId="ADAL" clId="{1344B877-4CE8-4877-AF5B-2108E7E1F6EB}" dt="2024-04-29T15:19:14.280" v="2566" actId="478"/>
          <ac:spMkLst>
            <pc:docMk/>
            <pc:sldMk cId="97008471" sldId="2076136955"/>
            <ac:spMk id="5" creationId="{5EA63240-F801-41CA-8C86-8D68FB6AD8C5}"/>
          </ac:spMkLst>
        </pc:spChg>
        <pc:picChg chg="mod">
          <ac:chgData name="Karen M Jensen" userId="ccc4eb8e-5dc8-4d39-8cbe-837fa13718e3" providerId="ADAL" clId="{1344B877-4CE8-4877-AF5B-2108E7E1F6EB}" dt="2024-04-29T15:19:22.660" v="2568" actId="26606"/>
          <ac:picMkLst>
            <pc:docMk/>
            <pc:sldMk cId="97008471" sldId="2076136955"/>
            <ac:picMk id="6" creationId="{3D912F69-CE94-46B3-B5A4-9536255A1392}"/>
          </ac:picMkLst>
        </pc:picChg>
      </pc:sldChg>
      <pc:sldChg chg="modSp mod">
        <pc:chgData name="Karen M Jensen" userId="ccc4eb8e-5dc8-4d39-8cbe-837fa13718e3" providerId="ADAL" clId="{1344B877-4CE8-4877-AF5B-2108E7E1F6EB}" dt="2024-04-29T18:29:45.698" v="4671" actId="2711"/>
        <pc:sldMkLst>
          <pc:docMk/>
          <pc:sldMk cId="49921878" sldId="2076136956"/>
        </pc:sldMkLst>
        <pc:spChg chg="mod">
          <ac:chgData name="Karen M Jensen" userId="ccc4eb8e-5dc8-4d39-8cbe-837fa13718e3" providerId="ADAL" clId="{1344B877-4CE8-4877-AF5B-2108E7E1F6EB}" dt="2024-04-29T18:29:45.698" v="4671" actId="2711"/>
          <ac:spMkLst>
            <pc:docMk/>
            <pc:sldMk cId="49921878" sldId="2076136956"/>
            <ac:spMk id="5" creationId="{5EA63240-F801-41CA-8C86-8D68FB6AD8C5}"/>
          </ac:spMkLst>
        </pc:spChg>
      </pc:sldChg>
      <pc:sldChg chg="modSp del">
        <pc:chgData name="Karen M Jensen" userId="ccc4eb8e-5dc8-4d39-8cbe-837fa13718e3" providerId="ADAL" clId="{1344B877-4CE8-4877-AF5B-2108E7E1F6EB}" dt="2024-04-25T13:50:48.938" v="2468" actId="47"/>
        <pc:sldMkLst>
          <pc:docMk/>
          <pc:sldMk cId="695036811" sldId="2076137015"/>
        </pc:sldMkLst>
        <pc:spChg chg="mod">
          <ac:chgData name="Karen M Jensen" userId="ccc4eb8e-5dc8-4d39-8cbe-837fa13718e3" providerId="ADAL" clId="{1344B877-4CE8-4877-AF5B-2108E7E1F6EB}" dt="2024-04-23T16:13:51.674" v="2"/>
          <ac:spMkLst>
            <pc:docMk/>
            <pc:sldMk cId="695036811" sldId="2076137015"/>
            <ac:spMk id="3" creationId="{E4D6CF74-F524-4B2B-A47E-62EA8800FE36}"/>
          </ac:spMkLst>
        </pc:spChg>
      </pc:sldChg>
      <pc:sldChg chg="modSp mod">
        <pc:chgData name="Karen M Jensen" userId="ccc4eb8e-5dc8-4d39-8cbe-837fa13718e3" providerId="ADAL" clId="{1344B877-4CE8-4877-AF5B-2108E7E1F6EB}" dt="2024-04-23T16:49:02.660" v="1622" actId="108"/>
        <pc:sldMkLst>
          <pc:docMk/>
          <pc:sldMk cId="3647867264" sldId="2076137119"/>
        </pc:sldMkLst>
        <pc:spChg chg="mod">
          <ac:chgData name="Karen M Jensen" userId="ccc4eb8e-5dc8-4d39-8cbe-837fa13718e3" providerId="ADAL" clId="{1344B877-4CE8-4877-AF5B-2108E7E1F6EB}" dt="2024-04-23T16:49:02.660" v="1622" actId="108"/>
          <ac:spMkLst>
            <pc:docMk/>
            <pc:sldMk cId="3647867264" sldId="2076137119"/>
            <ac:spMk id="2" creationId="{B0BE9769-B6EF-436B-B141-7BC9C951591F}"/>
          </ac:spMkLst>
        </pc:spChg>
      </pc:sldChg>
      <pc:sldChg chg="modSp del">
        <pc:chgData name="Karen M Jensen" userId="ccc4eb8e-5dc8-4d39-8cbe-837fa13718e3" providerId="ADAL" clId="{1344B877-4CE8-4877-AF5B-2108E7E1F6EB}" dt="2024-04-25T13:50:46.041" v="2467" actId="47"/>
        <pc:sldMkLst>
          <pc:docMk/>
          <pc:sldMk cId="3063325051" sldId="2076137124"/>
        </pc:sldMkLst>
        <pc:spChg chg="mod">
          <ac:chgData name="Karen M Jensen" userId="ccc4eb8e-5dc8-4d39-8cbe-837fa13718e3" providerId="ADAL" clId="{1344B877-4CE8-4877-AF5B-2108E7E1F6EB}" dt="2024-04-23T16:13:51.674" v="2"/>
          <ac:spMkLst>
            <pc:docMk/>
            <pc:sldMk cId="3063325051" sldId="2076137124"/>
            <ac:spMk id="2" creationId="{ADEDC516-9CC9-4E06-9933-C8F96EFB567E}"/>
          </ac:spMkLst>
        </pc:spChg>
      </pc:sldChg>
      <pc:sldChg chg="modSp">
        <pc:chgData name="Karen M Jensen" userId="ccc4eb8e-5dc8-4d39-8cbe-837fa13718e3" providerId="ADAL" clId="{1344B877-4CE8-4877-AF5B-2108E7E1F6EB}" dt="2024-04-23T16:13:51.674" v="2"/>
        <pc:sldMkLst>
          <pc:docMk/>
          <pc:sldMk cId="1116633401" sldId="2076137126"/>
        </pc:sldMkLst>
        <pc:spChg chg="mod">
          <ac:chgData name="Karen M Jensen" userId="ccc4eb8e-5dc8-4d39-8cbe-837fa13718e3" providerId="ADAL" clId="{1344B877-4CE8-4877-AF5B-2108E7E1F6EB}" dt="2024-04-23T16:13:51.674" v="2"/>
          <ac:spMkLst>
            <pc:docMk/>
            <pc:sldMk cId="1116633401" sldId="2076137126"/>
            <ac:spMk id="2" creationId="{0A2A045A-D4AA-4F11-964D-6926A6F76CE3}"/>
          </ac:spMkLst>
        </pc:spChg>
        <pc:spChg chg="mod">
          <ac:chgData name="Karen M Jensen" userId="ccc4eb8e-5dc8-4d39-8cbe-837fa13718e3" providerId="ADAL" clId="{1344B877-4CE8-4877-AF5B-2108E7E1F6EB}" dt="2024-04-23T16:13:51.674" v="2"/>
          <ac:spMkLst>
            <pc:docMk/>
            <pc:sldMk cId="1116633401" sldId="2076137126"/>
            <ac:spMk id="3" creationId="{904D4898-6F13-4EDB-B2DF-413A1045B441}"/>
          </ac:spMkLst>
        </pc:spChg>
      </pc:sldChg>
      <pc:sldChg chg="modSp">
        <pc:chgData name="Karen M Jensen" userId="ccc4eb8e-5dc8-4d39-8cbe-837fa13718e3" providerId="ADAL" clId="{1344B877-4CE8-4877-AF5B-2108E7E1F6EB}" dt="2024-04-23T16:13:51.674" v="2"/>
        <pc:sldMkLst>
          <pc:docMk/>
          <pc:sldMk cId="935805354" sldId="2076137127"/>
        </pc:sldMkLst>
        <pc:spChg chg="mod">
          <ac:chgData name="Karen M Jensen" userId="ccc4eb8e-5dc8-4d39-8cbe-837fa13718e3" providerId="ADAL" clId="{1344B877-4CE8-4877-AF5B-2108E7E1F6EB}" dt="2024-04-23T16:13:51.674" v="2"/>
          <ac:spMkLst>
            <pc:docMk/>
            <pc:sldMk cId="935805354" sldId="2076137127"/>
            <ac:spMk id="2" creationId="{B3D828B4-B861-45CC-A9ED-2A15DEF2D5C5}"/>
          </ac:spMkLst>
        </pc:spChg>
      </pc:sldChg>
      <pc:sldChg chg="modSp">
        <pc:chgData name="Karen M Jensen" userId="ccc4eb8e-5dc8-4d39-8cbe-837fa13718e3" providerId="ADAL" clId="{1344B877-4CE8-4877-AF5B-2108E7E1F6EB}" dt="2024-04-23T16:13:51.674" v="2"/>
        <pc:sldMkLst>
          <pc:docMk/>
          <pc:sldMk cId="407404797" sldId="2076137130"/>
        </pc:sldMkLst>
        <pc:spChg chg="mod">
          <ac:chgData name="Karen M Jensen" userId="ccc4eb8e-5dc8-4d39-8cbe-837fa13718e3" providerId="ADAL" clId="{1344B877-4CE8-4877-AF5B-2108E7E1F6EB}" dt="2024-04-23T16:13:51.674" v="2"/>
          <ac:spMkLst>
            <pc:docMk/>
            <pc:sldMk cId="407404797" sldId="2076137130"/>
            <ac:spMk id="2" creationId="{C9DCC56C-BA0C-421F-962F-47BDADC9E419}"/>
          </ac:spMkLst>
        </pc:spChg>
        <pc:spChg chg="mod">
          <ac:chgData name="Karen M Jensen" userId="ccc4eb8e-5dc8-4d39-8cbe-837fa13718e3" providerId="ADAL" clId="{1344B877-4CE8-4877-AF5B-2108E7E1F6EB}" dt="2024-04-23T16:13:51.674" v="2"/>
          <ac:spMkLst>
            <pc:docMk/>
            <pc:sldMk cId="407404797" sldId="2076137130"/>
            <ac:spMk id="3" creationId="{60767053-9DBE-4CB8-A05D-0F290E858EFC}"/>
          </ac:spMkLst>
        </pc:spChg>
      </pc:sldChg>
      <pc:sldChg chg="del">
        <pc:chgData name="Karen M Jensen" userId="ccc4eb8e-5dc8-4d39-8cbe-837fa13718e3" providerId="ADAL" clId="{1344B877-4CE8-4877-AF5B-2108E7E1F6EB}" dt="2024-04-25T13:50:52.020" v="2469" actId="47"/>
        <pc:sldMkLst>
          <pc:docMk/>
          <pc:sldMk cId="3921404899" sldId="2076137141"/>
        </pc:sldMkLst>
      </pc:sldChg>
      <pc:sldChg chg="addSp delSp modSp new mod modClrScheme chgLayout">
        <pc:chgData name="Karen M Jensen" userId="ccc4eb8e-5dc8-4d39-8cbe-837fa13718e3" providerId="ADAL" clId="{1344B877-4CE8-4877-AF5B-2108E7E1F6EB}" dt="2024-04-23T16:42:17.441" v="1557" actId="20577"/>
        <pc:sldMkLst>
          <pc:docMk/>
          <pc:sldMk cId="82224772" sldId="2076137142"/>
        </pc:sldMkLst>
        <pc:spChg chg="del mod ord">
          <ac:chgData name="Karen M Jensen" userId="ccc4eb8e-5dc8-4d39-8cbe-837fa13718e3" providerId="ADAL" clId="{1344B877-4CE8-4877-AF5B-2108E7E1F6EB}" dt="2024-04-23T16:14:55.972" v="40" actId="700"/>
          <ac:spMkLst>
            <pc:docMk/>
            <pc:sldMk cId="82224772" sldId="2076137142"/>
            <ac:spMk id="2" creationId="{97AEBC83-E8CB-45A0-5218-121E76A22F57}"/>
          </ac:spMkLst>
        </pc:spChg>
        <pc:spChg chg="del mod ord">
          <ac:chgData name="Karen M Jensen" userId="ccc4eb8e-5dc8-4d39-8cbe-837fa13718e3" providerId="ADAL" clId="{1344B877-4CE8-4877-AF5B-2108E7E1F6EB}" dt="2024-04-23T16:14:55.972" v="40" actId="700"/>
          <ac:spMkLst>
            <pc:docMk/>
            <pc:sldMk cId="82224772" sldId="2076137142"/>
            <ac:spMk id="3" creationId="{6D03C0DA-8846-728B-0FFA-170FD41D1AB5}"/>
          </ac:spMkLst>
        </pc:spChg>
        <pc:spChg chg="del mod">
          <ac:chgData name="Karen M Jensen" userId="ccc4eb8e-5dc8-4d39-8cbe-837fa13718e3" providerId="ADAL" clId="{1344B877-4CE8-4877-AF5B-2108E7E1F6EB}" dt="2024-04-23T16:14:55.972" v="40" actId="700"/>
          <ac:spMkLst>
            <pc:docMk/>
            <pc:sldMk cId="82224772" sldId="2076137142"/>
            <ac:spMk id="4" creationId="{BEB57DE6-80FC-60AD-D17E-DE5E60C2A1FB}"/>
          </ac:spMkLst>
        </pc:spChg>
        <pc:spChg chg="add mod ord">
          <ac:chgData name="Karen M Jensen" userId="ccc4eb8e-5dc8-4d39-8cbe-837fa13718e3" providerId="ADAL" clId="{1344B877-4CE8-4877-AF5B-2108E7E1F6EB}" dt="2024-04-23T16:14:55.972" v="40" actId="700"/>
          <ac:spMkLst>
            <pc:docMk/>
            <pc:sldMk cId="82224772" sldId="2076137142"/>
            <ac:spMk id="5" creationId="{AAE73B63-8BE1-05E1-E1BB-51A8060E8A08}"/>
          </ac:spMkLst>
        </pc:spChg>
        <pc:spChg chg="add mod ord">
          <ac:chgData name="Karen M Jensen" userId="ccc4eb8e-5dc8-4d39-8cbe-837fa13718e3" providerId="ADAL" clId="{1344B877-4CE8-4877-AF5B-2108E7E1F6EB}" dt="2024-04-23T16:42:17.441" v="1557" actId="20577"/>
          <ac:spMkLst>
            <pc:docMk/>
            <pc:sldMk cId="82224772" sldId="2076137142"/>
            <ac:spMk id="6" creationId="{EA1C1E25-47C8-3B7F-18B6-7FF255E9454F}"/>
          </ac:spMkLst>
        </pc:spChg>
      </pc:sldChg>
      <pc:sldChg chg="addSp delSp modSp new mod modClrScheme chgLayout">
        <pc:chgData name="Karen M Jensen" userId="ccc4eb8e-5dc8-4d39-8cbe-837fa13718e3" providerId="ADAL" clId="{1344B877-4CE8-4877-AF5B-2108E7E1F6EB}" dt="2024-04-23T16:34:48.264" v="727" actId="20577"/>
        <pc:sldMkLst>
          <pc:docMk/>
          <pc:sldMk cId="3737238293" sldId="2076137143"/>
        </pc:sldMkLst>
        <pc:spChg chg="del mod ord">
          <ac:chgData name="Karen M Jensen" userId="ccc4eb8e-5dc8-4d39-8cbe-837fa13718e3" providerId="ADAL" clId="{1344B877-4CE8-4877-AF5B-2108E7E1F6EB}" dt="2024-04-23T16:31:08.239" v="650" actId="700"/>
          <ac:spMkLst>
            <pc:docMk/>
            <pc:sldMk cId="3737238293" sldId="2076137143"/>
            <ac:spMk id="2" creationId="{623C781E-DA7F-4142-DC76-BB9A05013BE3}"/>
          </ac:spMkLst>
        </pc:spChg>
        <pc:spChg chg="del mod ord">
          <ac:chgData name="Karen M Jensen" userId="ccc4eb8e-5dc8-4d39-8cbe-837fa13718e3" providerId="ADAL" clId="{1344B877-4CE8-4877-AF5B-2108E7E1F6EB}" dt="2024-04-23T16:31:08.239" v="650" actId="700"/>
          <ac:spMkLst>
            <pc:docMk/>
            <pc:sldMk cId="3737238293" sldId="2076137143"/>
            <ac:spMk id="3" creationId="{81EBB1BC-96A9-0C10-BF00-C38B1DA5C691}"/>
          </ac:spMkLst>
        </pc:spChg>
        <pc:spChg chg="add mod ord">
          <ac:chgData name="Karen M Jensen" userId="ccc4eb8e-5dc8-4d39-8cbe-837fa13718e3" providerId="ADAL" clId="{1344B877-4CE8-4877-AF5B-2108E7E1F6EB}" dt="2024-04-23T16:34:25.351" v="713" actId="14100"/>
          <ac:spMkLst>
            <pc:docMk/>
            <pc:sldMk cId="3737238293" sldId="2076137143"/>
            <ac:spMk id="4" creationId="{A382418B-9C4F-2A41-DE9C-8367EC2F07BE}"/>
          </ac:spMkLst>
        </pc:spChg>
        <pc:spChg chg="add mod ord">
          <ac:chgData name="Karen M Jensen" userId="ccc4eb8e-5dc8-4d39-8cbe-837fa13718e3" providerId="ADAL" clId="{1344B877-4CE8-4877-AF5B-2108E7E1F6EB}" dt="2024-04-23T16:34:48.264" v="727" actId="20577"/>
          <ac:spMkLst>
            <pc:docMk/>
            <pc:sldMk cId="3737238293" sldId="2076137143"/>
            <ac:spMk id="5" creationId="{AC5CD83D-8D57-C5C7-134D-866C7A320F97}"/>
          </ac:spMkLst>
        </pc:spChg>
      </pc:sldChg>
      <pc:sldChg chg="addSp modSp new mod">
        <pc:chgData name="Karen M Jensen" userId="ccc4eb8e-5dc8-4d39-8cbe-837fa13718e3" providerId="ADAL" clId="{1344B877-4CE8-4877-AF5B-2108E7E1F6EB}" dt="2024-04-29T15:21:13.647" v="2620" actId="113"/>
        <pc:sldMkLst>
          <pc:docMk/>
          <pc:sldMk cId="3232782630" sldId="2076137144"/>
        </pc:sldMkLst>
        <pc:spChg chg="mod">
          <ac:chgData name="Karen M Jensen" userId="ccc4eb8e-5dc8-4d39-8cbe-837fa13718e3" providerId="ADAL" clId="{1344B877-4CE8-4877-AF5B-2108E7E1F6EB}" dt="2024-04-25T13:56:38.788" v="2506"/>
          <ac:spMkLst>
            <pc:docMk/>
            <pc:sldMk cId="3232782630" sldId="2076137144"/>
            <ac:spMk id="2" creationId="{16B0A0B4-7412-FB9D-AE41-FFD7F6DF79E3}"/>
          </ac:spMkLst>
        </pc:spChg>
        <pc:spChg chg="add mod">
          <ac:chgData name="Karen M Jensen" userId="ccc4eb8e-5dc8-4d39-8cbe-837fa13718e3" providerId="ADAL" clId="{1344B877-4CE8-4877-AF5B-2108E7E1F6EB}" dt="2024-04-29T15:21:13.647" v="2620" actId="113"/>
          <ac:spMkLst>
            <pc:docMk/>
            <pc:sldMk cId="3232782630" sldId="2076137144"/>
            <ac:spMk id="8" creationId="{31F889D4-79D4-0C0C-C804-3B32C32ABF4F}"/>
          </ac:spMkLst>
        </pc:spChg>
        <pc:grpChg chg="add mod">
          <ac:chgData name="Karen M Jensen" userId="ccc4eb8e-5dc8-4d39-8cbe-837fa13718e3" providerId="ADAL" clId="{1344B877-4CE8-4877-AF5B-2108E7E1F6EB}" dt="2024-04-25T13:57:50.849" v="2512" actId="1076"/>
          <ac:grpSpMkLst>
            <pc:docMk/>
            <pc:sldMk cId="3232782630" sldId="2076137144"/>
            <ac:grpSpMk id="7" creationId="{E515DFD9-C369-73EA-79A0-C939E2BA097D}"/>
          </ac:grpSpMkLst>
        </pc:grpChg>
        <pc:picChg chg="add mod">
          <ac:chgData name="Karen M Jensen" userId="ccc4eb8e-5dc8-4d39-8cbe-837fa13718e3" providerId="ADAL" clId="{1344B877-4CE8-4877-AF5B-2108E7E1F6EB}" dt="2024-04-25T13:57:44.659" v="2510" actId="164"/>
          <ac:picMkLst>
            <pc:docMk/>
            <pc:sldMk cId="3232782630" sldId="2076137144"/>
            <ac:picMk id="4" creationId="{5B7B3E3A-F4A9-1238-27E5-D2CE1913D4D7}"/>
          </ac:picMkLst>
        </pc:picChg>
        <pc:picChg chg="add mod">
          <ac:chgData name="Karen M Jensen" userId="ccc4eb8e-5dc8-4d39-8cbe-837fa13718e3" providerId="ADAL" clId="{1344B877-4CE8-4877-AF5B-2108E7E1F6EB}" dt="2024-04-25T13:57:44.659" v="2510" actId="164"/>
          <ac:picMkLst>
            <pc:docMk/>
            <pc:sldMk cId="3232782630" sldId="2076137144"/>
            <ac:picMk id="6" creationId="{5159E975-19CC-8217-665D-0390D80506B9}"/>
          </ac:picMkLst>
        </pc:picChg>
      </pc:sldChg>
      <pc:sldChg chg="addSp delSp modSp new mod modClrScheme chgLayout modNotesTx">
        <pc:chgData name="Karen M Jensen" userId="ccc4eb8e-5dc8-4d39-8cbe-837fa13718e3" providerId="ADAL" clId="{1344B877-4CE8-4877-AF5B-2108E7E1F6EB}" dt="2024-04-29T18:42:48.287" v="6343" actId="20577"/>
        <pc:sldMkLst>
          <pc:docMk/>
          <pc:sldMk cId="2129536169" sldId="2076137145"/>
        </pc:sldMkLst>
        <pc:spChg chg="mod ord">
          <ac:chgData name="Karen M Jensen" userId="ccc4eb8e-5dc8-4d39-8cbe-837fa13718e3" providerId="ADAL" clId="{1344B877-4CE8-4877-AF5B-2108E7E1F6EB}" dt="2024-04-29T15:26:14.362" v="2656" actId="700"/>
          <ac:spMkLst>
            <pc:docMk/>
            <pc:sldMk cId="2129536169" sldId="2076137145"/>
            <ac:spMk id="2" creationId="{4648D5EF-BB1B-7EB1-B7BB-EDFD1472655E}"/>
          </ac:spMkLst>
        </pc:spChg>
        <pc:spChg chg="add mod ord">
          <ac:chgData name="Karen M Jensen" userId="ccc4eb8e-5dc8-4d39-8cbe-837fa13718e3" providerId="ADAL" clId="{1344B877-4CE8-4877-AF5B-2108E7E1F6EB}" dt="2024-04-29T18:42:48.287" v="6343" actId="20577"/>
          <ac:spMkLst>
            <pc:docMk/>
            <pc:sldMk cId="2129536169" sldId="2076137145"/>
            <ac:spMk id="6" creationId="{00AF955B-5F46-6643-6A7A-4AC1031E45A9}"/>
          </ac:spMkLst>
        </pc:spChg>
        <pc:graphicFrameChg chg="add mod modGraphic">
          <ac:chgData name="Karen M Jensen" userId="ccc4eb8e-5dc8-4d39-8cbe-837fa13718e3" providerId="ADAL" clId="{1344B877-4CE8-4877-AF5B-2108E7E1F6EB}" dt="2024-04-29T16:36:31.868" v="2945" actId="14100"/>
          <ac:graphicFrameMkLst>
            <pc:docMk/>
            <pc:sldMk cId="2129536169" sldId="2076137145"/>
            <ac:graphicFrameMk id="5" creationId="{479AC52E-8F1F-9700-7585-83D555B813FB}"/>
          </ac:graphicFrameMkLst>
        </pc:graphicFrameChg>
        <pc:picChg chg="add del mod">
          <ac:chgData name="Karen M Jensen" userId="ccc4eb8e-5dc8-4d39-8cbe-837fa13718e3" providerId="ADAL" clId="{1344B877-4CE8-4877-AF5B-2108E7E1F6EB}" dt="2024-04-29T15:22:47.780" v="2625" actId="21"/>
          <ac:picMkLst>
            <pc:docMk/>
            <pc:sldMk cId="2129536169" sldId="2076137145"/>
            <ac:picMk id="4" creationId="{1AE3DD87-ABBF-0B77-A1B8-46E65639A092}"/>
          </ac:picMkLst>
        </pc:picChg>
      </pc:sldChg>
      <pc:sldChg chg="new del">
        <pc:chgData name="Karen M Jensen" userId="ccc4eb8e-5dc8-4d39-8cbe-837fa13718e3" providerId="ADAL" clId="{1344B877-4CE8-4877-AF5B-2108E7E1F6EB}" dt="2024-04-29T18:21:32.865" v="4560" actId="47"/>
        <pc:sldMkLst>
          <pc:docMk/>
          <pc:sldMk cId="2228898097" sldId="2076137146"/>
        </pc:sldMkLst>
      </pc:sldChg>
      <pc:sldChg chg="addSp modSp new mod modNotesTx">
        <pc:chgData name="Karen M Jensen" userId="ccc4eb8e-5dc8-4d39-8cbe-837fa13718e3" providerId="ADAL" clId="{1344B877-4CE8-4877-AF5B-2108E7E1F6EB}" dt="2024-04-29T18:41:47.944" v="6255" actId="14100"/>
        <pc:sldMkLst>
          <pc:docMk/>
          <pc:sldMk cId="3413463057" sldId="2076137147"/>
        </pc:sldMkLst>
        <pc:spChg chg="mod">
          <ac:chgData name="Karen M Jensen" userId="ccc4eb8e-5dc8-4d39-8cbe-837fa13718e3" providerId="ADAL" clId="{1344B877-4CE8-4877-AF5B-2108E7E1F6EB}" dt="2024-04-29T18:41:47.944" v="6255" actId="14100"/>
          <ac:spMkLst>
            <pc:docMk/>
            <pc:sldMk cId="3413463057" sldId="2076137147"/>
            <ac:spMk id="2" creationId="{64F9D5AE-F3B9-9948-9F1C-74299496497A}"/>
          </ac:spMkLst>
        </pc:spChg>
        <pc:picChg chg="add mod modCrop">
          <ac:chgData name="Karen M Jensen" userId="ccc4eb8e-5dc8-4d39-8cbe-837fa13718e3" providerId="ADAL" clId="{1344B877-4CE8-4877-AF5B-2108E7E1F6EB}" dt="2024-04-29T15:23:20.485" v="2653" actId="1076"/>
          <ac:picMkLst>
            <pc:docMk/>
            <pc:sldMk cId="3413463057" sldId="2076137147"/>
            <ac:picMk id="3" creationId="{8306516A-C225-758D-AB7F-E6A5B8348273}"/>
          </ac:picMkLst>
        </pc:picChg>
      </pc:sldChg>
      <pc:sldChg chg="new del">
        <pc:chgData name="Karen M Jensen" userId="ccc4eb8e-5dc8-4d39-8cbe-837fa13718e3" providerId="ADAL" clId="{1344B877-4CE8-4877-AF5B-2108E7E1F6EB}" dt="2024-04-29T15:22:39.593" v="2623" actId="47"/>
        <pc:sldMkLst>
          <pc:docMk/>
          <pc:sldMk cId="3598709228" sldId="2076137147"/>
        </pc:sldMkLst>
      </pc:sldChg>
      <pc:sldChg chg="add">
        <pc:chgData name="Karen M Jensen" userId="ccc4eb8e-5dc8-4d39-8cbe-837fa13718e3" providerId="ADAL" clId="{1344B877-4CE8-4877-AF5B-2108E7E1F6EB}" dt="2024-04-29T15:32:10.772" v="2658"/>
        <pc:sldMkLst>
          <pc:docMk/>
          <pc:sldMk cId="510360534" sldId="2076137163"/>
        </pc:sldMkLst>
      </pc:sldChg>
      <pc:sldChg chg="modSp add del mod ord">
        <pc:chgData name="Karen M Jensen" userId="ccc4eb8e-5dc8-4d39-8cbe-837fa13718e3" providerId="ADAL" clId="{1344B877-4CE8-4877-AF5B-2108E7E1F6EB}" dt="2024-04-29T18:05:52.529" v="4546"/>
        <pc:sldMkLst>
          <pc:docMk/>
          <pc:sldMk cId="2938031708" sldId="2076137203"/>
        </pc:sldMkLst>
        <pc:spChg chg="mod">
          <ac:chgData name="Karen M Jensen" userId="ccc4eb8e-5dc8-4d39-8cbe-837fa13718e3" providerId="ADAL" clId="{1344B877-4CE8-4877-AF5B-2108E7E1F6EB}" dt="2024-04-29T18:05:22.251" v="4540" actId="113"/>
          <ac:spMkLst>
            <pc:docMk/>
            <pc:sldMk cId="2938031708" sldId="2076137203"/>
            <ac:spMk id="2" creationId="{D0124C0B-19B9-E909-9444-CDAC7EEC4B08}"/>
          </ac:spMkLst>
        </pc:spChg>
        <pc:spChg chg="mod">
          <ac:chgData name="Karen M Jensen" userId="ccc4eb8e-5dc8-4d39-8cbe-837fa13718e3" providerId="ADAL" clId="{1344B877-4CE8-4877-AF5B-2108E7E1F6EB}" dt="2024-04-29T18:05:08.851" v="4539" actId="20577"/>
          <ac:spMkLst>
            <pc:docMk/>
            <pc:sldMk cId="2938031708" sldId="2076137203"/>
            <ac:spMk id="3" creationId="{011DDFC6-67C2-F006-5112-04E381C0D719}"/>
          </ac:spMkLst>
        </pc:spChg>
      </pc:sldChg>
      <pc:sldChg chg="add del ord">
        <pc:chgData name="Karen M Jensen" userId="ccc4eb8e-5dc8-4d39-8cbe-837fa13718e3" providerId="ADAL" clId="{1344B877-4CE8-4877-AF5B-2108E7E1F6EB}" dt="2024-04-29T18:05:52.529" v="4546"/>
        <pc:sldMkLst>
          <pc:docMk/>
          <pc:sldMk cId="659954158" sldId="2076137204"/>
        </pc:sldMkLst>
      </pc:sldChg>
      <pc:sldChg chg="addSp delSp modSp new mod ord modClrScheme chgLayout modNotesTx">
        <pc:chgData name="Karen M Jensen" userId="ccc4eb8e-5dc8-4d39-8cbe-837fa13718e3" providerId="ADAL" clId="{1344B877-4CE8-4877-AF5B-2108E7E1F6EB}" dt="2024-04-29T18:44:04.743" v="6353" actId="1035"/>
        <pc:sldMkLst>
          <pc:docMk/>
          <pc:sldMk cId="515616411" sldId="2076137205"/>
        </pc:sldMkLst>
        <pc:spChg chg="add mod">
          <ac:chgData name="Karen M Jensen" userId="ccc4eb8e-5dc8-4d39-8cbe-837fa13718e3" providerId="ADAL" clId="{1344B877-4CE8-4877-AF5B-2108E7E1F6EB}" dt="2024-04-29T18:23:02.076" v="4594" actId="20577"/>
          <ac:spMkLst>
            <pc:docMk/>
            <pc:sldMk cId="515616411" sldId="2076137205"/>
            <ac:spMk id="2" creationId="{C94E072F-778A-CF6B-0359-E433353B8A01}"/>
          </ac:spMkLst>
        </pc:spChg>
        <pc:spChg chg="add del mod">
          <ac:chgData name="Karen M Jensen" userId="ccc4eb8e-5dc8-4d39-8cbe-837fa13718e3" providerId="ADAL" clId="{1344B877-4CE8-4877-AF5B-2108E7E1F6EB}" dt="2024-04-29T15:37:17.717" v="2669" actId="1032"/>
          <ac:spMkLst>
            <pc:docMk/>
            <pc:sldMk cId="515616411" sldId="2076137205"/>
            <ac:spMk id="3" creationId="{9EC6511B-B628-27B4-F303-D0E658F9BD97}"/>
          </ac:spMkLst>
        </pc:spChg>
        <pc:spChg chg="add del mod">
          <ac:chgData name="Karen M Jensen" userId="ccc4eb8e-5dc8-4d39-8cbe-837fa13718e3" providerId="ADAL" clId="{1344B877-4CE8-4877-AF5B-2108E7E1F6EB}" dt="2024-04-29T15:42:38.848" v="2772" actId="1032"/>
          <ac:spMkLst>
            <pc:docMk/>
            <pc:sldMk cId="515616411" sldId="2076137205"/>
            <ac:spMk id="6" creationId="{A145E9F0-C7A2-9F5F-40B1-B03A3E0CE0FE}"/>
          </ac:spMkLst>
        </pc:spChg>
        <pc:spChg chg="mod">
          <ac:chgData name="Karen M Jensen" userId="ccc4eb8e-5dc8-4d39-8cbe-837fa13718e3" providerId="ADAL" clId="{1344B877-4CE8-4877-AF5B-2108E7E1F6EB}" dt="2024-04-29T18:22:08.891" v="4561"/>
          <ac:spMkLst>
            <pc:docMk/>
            <pc:sldMk cId="515616411" sldId="2076137205"/>
            <ac:spMk id="10" creationId="{72C324A3-47A3-B745-7BE9-D264BC430229}"/>
          </ac:spMkLst>
        </pc:spChg>
        <pc:spChg chg="add mod">
          <ac:chgData name="Karen M Jensen" userId="ccc4eb8e-5dc8-4d39-8cbe-837fa13718e3" providerId="ADAL" clId="{1344B877-4CE8-4877-AF5B-2108E7E1F6EB}" dt="2024-04-29T18:44:04.743" v="6353" actId="1035"/>
          <ac:spMkLst>
            <pc:docMk/>
            <pc:sldMk cId="515616411" sldId="2076137205"/>
            <ac:spMk id="12" creationId="{8F8EB721-FD4E-9433-24FC-0CAA64E1F6E4}"/>
          </ac:spMkLst>
        </pc:spChg>
        <pc:spChg chg="add mod">
          <ac:chgData name="Karen M Jensen" userId="ccc4eb8e-5dc8-4d39-8cbe-837fa13718e3" providerId="ADAL" clId="{1344B877-4CE8-4877-AF5B-2108E7E1F6EB}" dt="2024-04-29T18:44:04.743" v="6353" actId="1035"/>
          <ac:spMkLst>
            <pc:docMk/>
            <pc:sldMk cId="515616411" sldId="2076137205"/>
            <ac:spMk id="13" creationId="{0BC52C93-30E6-3A07-7484-0AB706F58CB3}"/>
          </ac:spMkLst>
        </pc:spChg>
        <pc:grpChg chg="add mod">
          <ac:chgData name="Karen M Jensen" userId="ccc4eb8e-5dc8-4d39-8cbe-837fa13718e3" providerId="ADAL" clId="{1344B877-4CE8-4877-AF5B-2108E7E1F6EB}" dt="2024-04-29T18:44:04.743" v="6353" actId="1035"/>
          <ac:grpSpMkLst>
            <pc:docMk/>
            <pc:sldMk cId="515616411" sldId="2076137205"/>
            <ac:grpSpMk id="9" creationId="{2C93BFE3-B8B6-A7F4-5B4E-4806DAFAA426}"/>
          </ac:grpSpMkLst>
        </pc:grpChg>
        <pc:graphicFrameChg chg="add del mod modGraphic">
          <ac:chgData name="Karen M Jensen" userId="ccc4eb8e-5dc8-4d39-8cbe-837fa13718e3" providerId="ADAL" clId="{1344B877-4CE8-4877-AF5B-2108E7E1F6EB}" dt="2024-04-29T15:41:18.647" v="2767" actId="478"/>
          <ac:graphicFrameMkLst>
            <pc:docMk/>
            <pc:sldMk cId="515616411" sldId="2076137205"/>
            <ac:graphicFrameMk id="4" creationId="{408F2E75-98C3-C2A6-6E1A-3FCB6779824E}"/>
          </ac:graphicFrameMkLst>
        </pc:graphicFrameChg>
        <pc:graphicFrameChg chg="add del modGraphic">
          <ac:chgData name="Karen M Jensen" userId="ccc4eb8e-5dc8-4d39-8cbe-837fa13718e3" providerId="ADAL" clId="{1344B877-4CE8-4877-AF5B-2108E7E1F6EB}" dt="2024-04-29T15:41:56.466" v="2769" actId="1032"/>
          <ac:graphicFrameMkLst>
            <pc:docMk/>
            <pc:sldMk cId="515616411" sldId="2076137205"/>
            <ac:graphicFrameMk id="7" creationId="{93530D93-D270-430A-F0C0-BF6F76362925}"/>
          </ac:graphicFrameMkLst>
        </pc:graphicFrameChg>
        <pc:graphicFrameChg chg="add mod modGraphic">
          <ac:chgData name="Karen M Jensen" userId="ccc4eb8e-5dc8-4d39-8cbe-837fa13718e3" providerId="ADAL" clId="{1344B877-4CE8-4877-AF5B-2108E7E1F6EB}" dt="2024-04-29T18:44:04.743" v="6353" actId="1035"/>
          <ac:graphicFrameMkLst>
            <pc:docMk/>
            <pc:sldMk cId="515616411" sldId="2076137205"/>
            <ac:graphicFrameMk id="8" creationId="{BCE576E5-8806-3F70-5FD1-53E36C1B5D04}"/>
          </ac:graphicFrameMkLst>
        </pc:graphicFrameChg>
        <pc:picChg chg="mod">
          <ac:chgData name="Karen M Jensen" userId="ccc4eb8e-5dc8-4d39-8cbe-837fa13718e3" providerId="ADAL" clId="{1344B877-4CE8-4877-AF5B-2108E7E1F6EB}" dt="2024-04-29T18:22:08.891" v="4561"/>
          <ac:picMkLst>
            <pc:docMk/>
            <pc:sldMk cId="515616411" sldId="2076137205"/>
            <ac:picMk id="11" creationId="{A4B3E7C0-AF57-2F47-F055-21AAA90D4412}"/>
          </ac:picMkLst>
        </pc:picChg>
      </pc:sldChg>
      <pc:sldMasterChg chg="del delSldLayout">
        <pc:chgData name="Karen M Jensen" userId="ccc4eb8e-5dc8-4d39-8cbe-837fa13718e3" providerId="ADAL" clId="{1344B877-4CE8-4877-AF5B-2108E7E1F6EB}" dt="2024-04-25T13:50:52.020" v="2469" actId="47"/>
        <pc:sldMasterMkLst>
          <pc:docMk/>
          <pc:sldMasterMk cId="3347068678" sldId="2147483662"/>
        </pc:sldMasterMkLst>
        <pc:sldLayoutChg chg="del">
          <pc:chgData name="Karen M Jensen" userId="ccc4eb8e-5dc8-4d39-8cbe-837fa13718e3" providerId="ADAL" clId="{1344B877-4CE8-4877-AF5B-2108E7E1F6EB}" dt="2024-04-25T13:50:52.020" v="2469" actId="47"/>
          <pc:sldLayoutMkLst>
            <pc:docMk/>
            <pc:sldMasterMk cId="3347068678" sldId="2147483662"/>
            <pc:sldLayoutMk cId="1155450920" sldId="2147483663"/>
          </pc:sldLayoutMkLst>
        </pc:sldLayoutChg>
        <pc:sldLayoutChg chg="del">
          <pc:chgData name="Karen M Jensen" userId="ccc4eb8e-5dc8-4d39-8cbe-837fa13718e3" providerId="ADAL" clId="{1344B877-4CE8-4877-AF5B-2108E7E1F6EB}" dt="2024-04-25T13:50:52.020" v="2469" actId="47"/>
          <pc:sldLayoutMkLst>
            <pc:docMk/>
            <pc:sldMasterMk cId="3347068678" sldId="2147483662"/>
            <pc:sldLayoutMk cId="2070200943" sldId="2147483666"/>
          </pc:sldLayoutMkLst>
        </pc:sldLayoutChg>
        <pc:sldLayoutChg chg="del">
          <pc:chgData name="Karen M Jensen" userId="ccc4eb8e-5dc8-4d39-8cbe-837fa13718e3" providerId="ADAL" clId="{1344B877-4CE8-4877-AF5B-2108E7E1F6EB}" dt="2024-04-25T13:50:52.020" v="2469" actId="47"/>
          <pc:sldLayoutMkLst>
            <pc:docMk/>
            <pc:sldMasterMk cId="3347068678" sldId="2147483662"/>
            <pc:sldLayoutMk cId="598239235" sldId="2147483667"/>
          </pc:sldLayoutMkLst>
        </pc:sldLayoutChg>
        <pc:sldLayoutChg chg="del">
          <pc:chgData name="Karen M Jensen" userId="ccc4eb8e-5dc8-4d39-8cbe-837fa13718e3" providerId="ADAL" clId="{1344B877-4CE8-4877-AF5B-2108E7E1F6EB}" dt="2024-04-25T13:50:52.020" v="2469" actId="47"/>
          <pc:sldLayoutMkLst>
            <pc:docMk/>
            <pc:sldMasterMk cId="3347068678" sldId="2147483662"/>
            <pc:sldLayoutMk cId="4069316346" sldId="2147483668"/>
          </pc:sldLayoutMkLst>
        </pc:sldLayoutChg>
        <pc:sldLayoutChg chg="del">
          <pc:chgData name="Karen M Jensen" userId="ccc4eb8e-5dc8-4d39-8cbe-837fa13718e3" providerId="ADAL" clId="{1344B877-4CE8-4877-AF5B-2108E7E1F6EB}" dt="2024-04-25T13:50:52.020" v="2469" actId="47"/>
          <pc:sldLayoutMkLst>
            <pc:docMk/>
            <pc:sldMasterMk cId="3347068678" sldId="2147483662"/>
            <pc:sldLayoutMk cId="1780122590" sldId="2147483669"/>
          </pc:sldLayoutMkLst>
        </pc:sldLayoutChg>
        <pc:sldLayoutChg chg="del">
          <pc:chgData name="Karen M Jensen" userId="ccc4eb8e-5dc8-4d39-8cbe-837fa13718e3" providerId="ADAL" clId="{1344B877-4CE8-4877-AF5B-2108E7E1F6EB}" dt="2024-04-25T13:50:52.020" v="2469" actId="47"/>
          <pc:sldLayoutMkLst>
            <pc:docMk/>
            <pc:sldMasterMk cId="3347068678" sldId="2147483662"/>
            <pc:sldLayoutMk cId="3882079840" sldId="2147483670"/>
          </pc:sldLayoutMkLst>
        </pc:sldLayoutChg>
        <pc:sldLayoutChg chg="del">
          <pc:chgData name="Karen M Jensen" userId="ccc4eb8e-5dc8-4d39-8cbe-837fa13718e3" providerId="ADAL" clId="{1344B877-4CE8-4877-AF5B-2108E7E1F6EB}" dt="2024-04-25T13:50:52.020" v="2469" actId="47"/>
          <pc:sldLayoutMkLst>
            <pc:docMk/>
            <pc:sldMasterMk cId="3347068678" sldId="2147483662"/>
            <pc:sldLayoutMk cId="4200541326" sldId="2147483671"/>
          </pc:sldLayoutMkLst>
        </pc:sldLayoutChg>
        <pc:sldLayoutChg chg="del">
          <pc:chgData name="Karen M Jensen" userId="ccc4eb8e-5dc8-4d39-8cbe-837fa13718e3" providerId="ADAL" clId="{1344B877-4CE8-4877-AF5B-2108E7E1F6EB}" dt="2024-04-25T13:50:52.020" v="2469" actId="47"/>
          <pc:sldLayoutMkLst>
            <pc:docMk/>
            <pc:sldMasterMk cId="3347068678" sldId="2147483662"/>
            <pc:sldLayoutMk cId="263843588" sldId="2147483672"/>
          </pc:sldLayoutMkLst>
        </pc:sldLayoutChg>
        <pc:sldLayoutChg chg="del">
          <pc:chgData name="Karen M Jensen" userId="ccc4eb8e-5dc8-4d39-8cbe-837fa13718e3" providerId="ADAL" clId="{1344B877-4CE8-4877-AF5B-2108E7E1F6EB}" dt="2024-04-25T13:50:52.020" v="2469" actId="47"/>
          <pc:sldLayoutMkLst>
            <pc:docMk/>
            <pc:sldMasterMk cId="3347068678" sldId="2147483662"/>
            <pc:sldLayoutMk cId="1261850368" sldId="2147483673"/>
          </pc:sldLayoutMkLst>
        </pc:sldLayoutChg>
        <pc:sldLayoutChg chg="del">
          <pc:chgData name="Karen M Jensen" userId="ccc4eb8e-5dc8-4d39-8cbe-837fa13718e3" providerId="ADAL" clId="{1344B877-4CE8-4877-AF5B-2108E7E1F6EB}" dt="2024-04-25T13:50:52.020" v="2469" actId="47"/>
          <pc:sldLayoutMkLst>
            <pc:docMk/>
            <pc:sldMasterMk cId="3347068678" sldId="2147483662"/>
            <pc:sldLayoutMk cId="1294455875" sldId="2147483674"/>
          </pc:sldLayoutMkLst>
        </pc:sldLayoutChg>
        <pc:sldLayoutChg chg="del">
          <pc:chgData name="Karen M Jensen" userId="ccc4eb8e-5dc8-4d39-8cbe-837fa13718e3" providerId="ADAL" clId="{1344B877-4CE8-4877-AF5B-2108E7E1F6EB}" dt="2024-04-25T13:50:52.020" v="2469" actId="47"/>
          <pc:sldLayoutMkLst>
            <pc:docMk/>
            <pc:sldMasterMk cId="3347068678" sldId="2147483662"/>
            <pc:sldLayoutMk cId="417235917" sldId="2147483675"/>
          </pc:sldLayoutMkLst>
        </pc:sldLayoutChg>
      </pc:sldMasterChg>
      <pc:sldMasterChg chg="delSldLayout">
        <pc:chgData name="Karen M Jensen" userId="ccc4eb8e-5dc8-4d39-8cbe-837fa13718e3" providerId="ADAL" clId="{1344B877-4CE8-4877-AF5B-2108E7E1F6EB}" dt="2024-04-25T13:50:48.938" v="2468" actId="47"/>
        <pc:sldMasterMkLst>
          <pc:docMk/>
          <pc:sldMasterMk cId="1737393601" sldId="2147483677"/>
        </pc:sldMasterMkLst>
        <pc:sldLayoutChg chg="del">
          <pc:chgData name="Karen M Jensen" userId="ccc4eb8e-5dc8-4d39-8cbe-837fa13718e3" providerId="ADAL" clId="{1344B877-4CE8-4877-AF5B-2108E7E1F6EB}" dt="2024-04-25T13:50:48.938" v="2468" actId="47"/>
          <pc:sldLayoutMkLst>
            <pc:docMk/>
            <pc:sldMasterMk cId="1737393601" sldId="2147483677"/>
            <pc:sldLayoutMk cId="2935381921" sldId="2147483693"/>
          </pc:sldLayoutMkLst>
        </pc:sldLayoutChg>
      </pc:sldMasterChg>
      <pc:sldMasterChg chg="modSldLayout">
        <pc:chgData name="Karen M Jensen" userId="ccc4eb8e-5dc8-4d39-8cbe-837fa13718e3" providerId="ADAL" clId="{1344B877-4CE8-4877-AF5B-2108E7E1F6EB}" dt="2024-04-23T16:33:42" v="708" actId="113"/>
        <pc:sldMasterMkLst>
          <pc:docMk/>
          <pc:sldMasterMk cId="1154538424" sldId="2147483694"/>
        </pc:sldMasterMkLst>
        <pc:sldLayoutChg chg="modSp">
          <pc:chgData name="Karen M Jensen" userId="ccc4eb8e-5dc8-4d39-8cbe-837fa13718e3" providerId="ADAL" clId="{1344B877-4CE8-4877-AF5B-2108E7E1F6EB}" dt="2024-04-23T16:33:42" v="708" actId="113"/>
          <pc:sldLayoutMkLst>
            <pc:docMk/>
            <pc:sldMasterMk cId="1154538424" sldId="2147483694"/>
            <pc:sldLayoutMk cId="1712483648" sldId="2147483701"/>
          </pc:sldLayoutMkLst>
          <pc:spChg chg="mod">
            <ac:chgData name="Karen M Jensen" userId="ccc4eb8e-5dc8-4d39-8cbe-837fa13718e3" providerId="ADAL" clId="{1344B877-4CE8-4877-AF5B-2108E7E1F6EB}" dt="2024-04-23T16:33:42" v="708" actId="113"/>
            <ac:spMkLst>
              <pc:docMk/>
              <pc:sldMasterMk cId="1154538424" sldId="2147483694"/>
              <pc:sldLayoutMk cId="1712483648" sldId="2147483701"/>
              <ac:spMk id="2" creationId="{78C6E209-587E-4B55-08C1-8E43B9BBB7FB}"/>
            </ac:spMkLst>
          </pc:spChg>
        </pc:sldLayoutChg>
      </pc:sldMasterChg>
      <pc:sldMasterChg chg="modSp">
        <pc:chgData name="Karen M Jensen" userId="ccc4eb8e-5dc8-4d39-8cbe-837fa13718e3" providerId="ADAL" clId="{1344B877-4CE8-4877-AF5B-2108E7E1F6EB}" dt="2024-04-23T16:33:45.455" v="709" actId="113"/>
        <pc:sldMasterMkLst>
          <pc:docMk/>
          <pc:sldMasterMk cId="4287532456" sldId="2147483703"/>
        </pc:sldMasterMkLst>
        <pc:spChg chg="mod">
          <ac:chgData name="Karen M Jensen" userId="ccc4eb8e-5dc8-4d39-8cbe-837fa13718e3" providerId="ADAL" clId="{1344B877-4CE8-4877-AF5B-2108E7E1F6EB}" dt="2024-04-23T16:33:45.455" v="709" actId="113"/>
          <ac:spMkLst>
            <pc:docMk/>
            <pc:sldMasterMk cId="4287532456" sldId="2147483703"/>
            <ac:spMk id="2" creationId="{C6197A55-EB65-1235-5183-417295F9A407}"/>
          </ac:spMkLst>
        </pc:spChg>
      </pc:sldMaster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42D0486-EA2B-470B-81A0-BFDB85B933B8}" type="doc">
      <dgm:prSet loTypeId="urn:microsoft.com/office/officeart/2005/8/layout/hierarchy4" loCatId="relationship" qsTypeId="urn:microsoft.com/office/officeart/2005/8/quickstyle/simple1" qsCatId="simple" csTypeId="urn:microsoft.com/office/officeart/2005/8/colors/accent1_2" csCatId="accent1" phldr="1"/>
      <dgm:spPr/>
      <dgm:t>
        <a:bodyPr/>
        <a:lstStyle/>
        <a:p>
          <a:endParaRPr lang="en-US"/>
        </a:p>
      </dgm:t>
    </dgm:pt>
    <dgm:pt modelId="{62478AF0-3B41-459B-BBB5-B7066ABC10F5}">
      <dgm:prSet phldrT="[Text]"/>
      <dgm:spPr/>
      <dgm:t>
        <a:bodyPr/>
        <a:lstStyle/>
        <a:p>
          <a:r>
            <a:rPr lang="en-US" b="1" dirty="0"/>
            <a:t>DIG</a:t>
          </a:r>
        </a:p>
      </dgm:t>
    </dgm:pt>
    <dgm:pt modelId="{1393FF9F-3B02-4C42-984A-D195E6189E89}" type="parTrans" cxnId="{6627D330-0A87-40F1-9A81-429757895EA9}">
      <dgm:prSet/>
      <dgm:spPr/>
      <dgm:t>
        <a:bodyPr/>
        <a:lstStyle/>
        <a:p>
          <a:endParaRPr lang="en-US" b="1"/>
        </a:p>
      </dgm:t>
    </dgm:pt>
    <dgm:pt modelId="{32EB3564-D1E5-4915-A6B6-8002C3A9213E}" type="sibTrans" cxnId="{6627D330-0A87-40F1-9A81-429757895EA9}">
      <dgm:prSet/>
      <dgm:spPr/>
      <dgm:t>
        <a:bodyPr/>
        <a:lstStyle/>
        <a:p>
          <a:endParaRPr lang="en-US" b="1"/>
        </a:p>
      </dgm:t>
    </dgm:pt>
    <dgm:pt modelId="{F3CE9140-141B-4DBE-B47F-A7C5796B9E80}">
      <dgm:prSet phldrT="[Text]"/>
      <dgm:spPr>
        <a:solidFill>
          <a:schemeClr val="tx2">
            <a:lumMod val="60000"/>
            <a:lumOff val="40000"/>
          </a:schemeClr>
        </a:solidFill>
      </dgm:spPr>
      <dgm:t>
        <a:bodyPr/>
        <a:lstStyle/>
        <a:p>
          <a:r>
            <a:rPr lang="en-US" b="1" dirty="0"/>
            <a:t>Governed Data Catalog</a:t>
          </a:r>
        </a:p>
        <a:p>
          <a:r>
            <a:rPr lang="en-US" b="1" dirty="0"/>
            <a:t>(Business &amp; Technical Metadata)</a:t>
          </a:r>
        </a:p>
      </dgm:t>
    </dgm:pt>
    <dgm:pt modelId="{5590851A-125B-4689-9F96-A25810953167}" type="parTrans" cxnId="{31414107-5F28-40FA-BEFA-D2DF66246F6F}">
      <dgm:prSet/>
      <dgm:spPr/>
      <dgm:t>
        <a:bodyPr/>
        <a:lstStyle/>
        <a:p>
          <a:endParaRPr lang="en-US" b="1"/>
        </a:p>
      </dgm:t>
    </dgm:pt>
    <dgm:pt modelId="{1EBB8EBB-F295-4859-B455-7788046F3602}" type="sibTrans" cxnId="{31414107-5F28-40FA-BEFA-D2DF66246F6F}">
      <dgm:prSet/>
      <dgm:spPr/>
      <dgm:t>
        <a:bodyPr/>
        <a:lstStyle/>
        <a:p>
          <a:endParaRPr lang="en-US" b="1"/>
        </a:p>
      </dgm:t>
    </dgm:pt>
    <dgm:pt modelId="{CC873448-B5A1-497A-BD0F-8637981AFDE0}">
      <dgm:prSet phldrT="[Text]"/>
      <dgm:spPr>
        <a:solidFill>
          <a:schemeClr val="accent1">
            <a:lumMod val="60000"/>
            <a:lumOff val="40000"/>
          </a:schemeClr>
        </a:solidFill>
      </dgm:spPr>
      <dgm:t>
        <a:bodyPr/>
        <a:lstStyle/>
        <a:p>
          <a:r>
            <a:rPr lang="en-US" b="1" dirty="0"/>
            <a:t>Certified Metrics &amp; Business Logic</a:t>
          </a:r>
        </a:p>
      </dgm:t>
    </dgm:pt>
    <dgm:pt modelId="{D286A299-475D-4932-94E0-5B15816587E3}" type="parTrans" cxnId="{E370C12A-5C6D-404E-8C75-EEA6D54592ED}">
      <dgm:prSet/>
      <dgm:spPr/>
      <dgm:t>
        <a:bodyPr/>
        <a:lstStyle/>
        <a:p>
          <a:endParaRPr lang="en-US" b="1"/>
        </a:p>
      </dgm:t>
    </dgm:pt>
    <dgm:pt modelId="{E1ACD825-1349-4B2D-A128-DC0F13C01A9C}" type="sibTrans" cxnId="{E370C12A-5C6D-404E-8C75-EEA6D54592ED}">
      <dgm:prSet/>
      <dgm:spPr/>
      <dgm:t>
        <a:bodyPr/>
        <a:lstStyle/>
        <a:p>
          <a:endParaRPr lang="en-US" b="1"/>
        </a:p>
      </dgm:t>
    </dgm:pt>
    <dgm:pt modelId="{69EC7AB2-E885-46E9-A946-7E811E0FFCBF}">
      <dgm:prSet phldrT="[Text]"/>
      <dgm:spPr>
        <a:solidFill>
          <a:schemeClr val="accent1">
            <a:lumMod val="60000"/>
            <a:lumOff val="40000"/>
          </a:schemeClr>
        </a:solidFill>
      </dgm:spPr>
      <dgm:t>
        <a:bodyPr/>
        <a:lstStyle/>
        <a:p>
          <a:r>
            <a:rPr lang="en-US" b="1" dirty="0"/>
            <a:t>Data Lineage &amp; Reference Data Management</a:t>
          </a:r>
        </a:p>
        <a:p>
          <a:endParaRPr lang="en-US" b="1" dirty="0"/>
        </a:p>
      </dgm:t>
    </dgm:pt>
    <dgm:pt modelId="{9BD858B2-7C8A-401D-965D-5DABA7F8DC63}" type="parTrans" cxnId="{0CB0B2DE-65F1-49A4-B9CB-F31C3EDB3873}">
      <dgm:prSet/>
      <dgm:spPr/>
      <dgm:t>
        <a:bodyPr/>
        <a:lstStyle/>
        <a:p>
          <a:endParaRPr lang="en-US" b="1"/>
        </a:p>
      </dgm:t>
    </dgm:pt>
    <dgm:pt modelId="{DFF7D2DC-3FF3-47AD-87B3-C471A1FA689D}" type="sibTrans" cxnId="{0CB0B2DE-65F1-49A4-B9CB-F31C3EDB3873}">
      <dgm:prSet/>
      <dgm:spPr/>
      <dgm:t>
        <a:bodyPr/>
        <a:lstStyle/>
        <a:p>
          <a:endParaRPr lang="en-US" b="1"/>
        </a:p>
      </dgm:t>
    </dgm:pt>
    <dgm:pt modelId="{A270511C-6A12-490A-952B-15110E2BDF01}">
      <dgm:prSet phldrT="[Text]"/>
      <dgm:spPr>
        <a:solidFill>
          <a:schemeClr val="accent1">
            <a:lumMod val="60000"/>
            <a:lumOff val="40000"/>
          </a:schemeClr>
        </a:solidFill>
      </dgm:spPr>
      <dgm:t>
        <a:bodyPr/>
        <a:lstStyle/>
        <a:p>
          <a:r>
            <a:rPr lang="en-US" b="1" dirty="0"/>
            <a:t>Business Glossary</a:t>
          </a:r>
        </a:p>
      </dgm:t>
    </dgm:pt>
    <dgm:pt modelId="{5FBAE78A-C581-421F-8FE5-F58AB21E9EBD}" type="parTrans" cxnId="{D29E6E3D-CB82-4F71-B12A-DCEC1BA05850}">
      <dgm:prSet/>
      <dgm:spPr/>
      <dgm:t>
        <a:bodyPr/>
        <a:lstStyle/>
        <a:p>
          <a:endParaRPr lang="en-US" b="1"/>
        </a:p>
      </dgm:t>
    </dgm:pt>
    <dgm:pt modelId="{2FF02AFE-3A51-40F6-8FA7-65989A32F37B}" type="sibTrans" cxnId="{D29E6E3D-CB82-4F71-B12A-DCEC1BA05850}">
      <dgm:prSet/>
      <dgm:spPr/>
      <dgm:t>
        <a:bodyPr/>
        <a:lstStyle/>
        <a:p>
          <a:endParaRPr lang="en-US" b="1"/>
        </a:p>
      </dgm:t>
    </dgm:pt>
    <dgm:pt modelId="{CC47F031-45D4-48E3-A4DD-E69B9C84DA62}">
      <dgm:prSet phldrT="[Text]"/>
      <dgm:spPr>
        <a:solidFill>
          <a:schemeClr val="tx2">
            <a:lumMod val="60000"/>
            <a:lumOff val="40000"/>
          </a:schemeClr>
        </a:solidFill>
      </dgm:spPr>
      <dgm:t>
        <a:bodyPr/>
        <a:lstStyle/>
        <a:p>
          <a:r>
            <a:rPr lang="en-US" b="1" dirty="0"/>
            <a:t>Inventoried Data</a:t>
          </a:r>
        </a:p>
      </dgm:t>
    </dgm:pt>
    <dgm:pt modelId="{5650ACB0-5E67-48F0-B96B-3EE9E37C9964}" type="parTrans" cxnId="{165BA160-EC07-4014-9BAE-A83F7654F4AA}">
      <dgm:prSet/>
      <dgm:spPr/>
      <dgm:t>
        <a:bodyPr/>
        <a:lstStyle/>
        <a:p>
          <a:endParaRPr lang="en-US" b="1"/>
        </a:p>
      </dgm:t>
    </dgm:pt>
    <dgm:pt modelId="{24BD5C56-086D-4279-8D8B-09E1E4FD3D6A}" type="sibTrans" cxnId="{165BA160-EC07-4014-9BAE-A83F7654F4AA}">
      <dgm:prSet/>
      <dgm:spPr/>
      <dgm:t>
        <a:bodyPr/>
        <a:lstStyle/>
        <a:p>
          <a:endParaRPr lang="en-US" b="1"/>
        </a:p>
      </dgm:t>
    </dgm:pt>
    <dgm:pt modelId="{915E1768-08F4-4251-9EE6-913A7E742CE9}">
      <dgm:prSet phldrT="[Text]"/>
      <dgm:spPr>
        <a:solidFill>
          <a:schemeClr val="accent1">
            <a:lumMod val="60000"/>
            <a:lumOff val="40000"/>
          </a:schemeClr>
        </a:solidFill>
      </dgm:spPr>
      <dgm:t>
        <a:bodyPr/>
        <a:lstStyle/>
        <a:p>
          <a:r>
            <a:rPr lang="en-US" b="1" dirty="0"/>
            <a:t>Data Quality</a:t>
          </a:r>
        </a:p>
      </dgm:t>
    </dgm:pt>
    <dgm:pt modelId="{9FFB4A28-A3E1-4244-93C2-FAABB3158F01}" type="parTrans" cxnId="{1B09BA1B-5A04-429E-AAD1-28F4DC4541D5}">
      <dgm:prSet/>
      <dgm:spPr/>
      <dgm:t>
        <a:bodyPr/>
        <a:lstStyle/>
        <a:p>
          <a:endParaRPr lang="en-US" b="1"/>
        </a:p>
      </dgm:t>
    </dgm:pt>
    <dgm:pt modelId="{8D337B6D-1E5D-48F4-8409-94C69D6BF4D9}" type="sibTrans" cxnId="{1B09BA1B-5A04-429E-AAD1-28F4DC4541D5}">
      <dgm:prSet/>
      <dgm:spPr/>
      <dgm:t>
        <a:bodyPr/>
        <a:lstStyle/>
        <a:p>
          <a:endParaRPr lang="en-US" b="1"/>
        </a:p>
      </dgm:t>
    </dgm:pt>
    <dgm:pt modelId="{13FFDEA6-1C68-417A-B5CF-BBEE826EBF4F}">
      <dgm:prSet phldrT="[Text]"/>
      <dgm:spPr>
        <a:solidFill>
          <a:schemeClr val="accent1">
            <a:lumMod val="60000"/>
            <a:lumOff val="40000"/>
          </a:schemeClr>
        </a:solidFill>
      </dgm:spPr>
      <dgm:t>
        <a:bodyPr/>
        <a:lstStyle/>
        <a:p>
          <a:r>
            <a:rPr lang="en-US" b="1" dirty="0"/>
            <a:t>Data Policies</a:t>
          </a:r>
        </a:p>
      </dgm:t>
    </dgm:pt>
    <dgm:pt modelId="{3EBA33B0-054D-4182-A653-7AC7D28F1FBD}" type="parTrans" cxnId="{EC8B81AD-35AD-40AD-AB6B-28A128743FE8}">
      <dgm:prSet/>
      <dgm:spPr/>
      <dgm:t>
        <a:bodyPr/>
        <a:lstStyle/>
        <a:p>
          <a:endParaRPr lang="en-US" b="1"/>
        </a:p>
      </dgm:t>
    </dgm:pt>
    <dgm:pt modelId="{BB8A2310-62AA-44A6-91A7-B2D5F1A045DB}" type="sibTrans" cxnId="{EC8B81AD-35AD-40AD-AB6B-28A128743FE8}">
      <dgm:prSet/>
      <dgm:spPr/>
      <dgm:t>
        <a:bodyPr/>
        <a:lstStyle/>
        <a:p>
          <a:endParaRPr lang="en-US" b="1"/>
        </a:p>
      </dgm:t>
    </dgm:pt>
    <dgm:pt modelId="{4D412444-C113-488A-AAF4-904FAF5F6DC6}" type="pres">
      <dgm:prSet presAssocID="{B42D0486-EA2B-470B-81A0-BFDB85B933B8}" presName="Name0" presStyleCnt="0">
        <dgm:presLayoutVars>
          <dgm:chPref val="1"/>
          <dgm:dir/>
          <dgm:animOne val="branch"/>
          <dgm:animLvl val="lvl"/>
          <dgm:resizeHandles/>
        </dgm:presLayoutVars>
      </dgm:prSet>
      <dgm:spPr/>
    </dgm:pt>
    <dgm:pt modelId="{8D026478-A01D-4F52-8668-DE59887F780F}" type="pres">
      <dgm:prSet presAssocID="{62478AF0-3B41-459B-BBB5-B7066ABC10F5}" presName="vertOne" presStyleCnt="0"/>
      <dgm:spPr/>
    </dgm:pt>
    <dgm:pt modelId="{9AD6089B-1F55-4F58-8A1E-8AE9E5C3BAFC}" type="pres">
      <dgm:prSet presAssocID="{62478AF0-3B41-459B-BBB5-B7066ABC10F5}" presName="txOne" presStyleLbl="node0" presStyleIdx="0" presStyleCnt="1" custLinFactNeighborX="2206" custLinFactNeighborY="28804">
        <dgm:presLayoutVars>
          <dgm:chPref val="3"/>
        </dgm:presLayoutVars>
      </dgm:prSet>
      <dgm:spPr/>
    </dgm:pt>
    <dgm:pt modelId="{51FFEF83-19BB-4C7C-8E76-6A7E50148412}" type="pres">
      <dgm:prSet presAssocID="{62478AF0-3B41-459B-BBB5-B7066ABC10F5}" presName="parTransOne" presStyleCnt="0"/>
      <dgm:spPr/>
    </dgm:pt>
    <dgm:pt modelId="{7A9C73DC-9201-411C-9B76-669A4BC28634}" type="pres">
      <dgm:prSet presAssocID="{62478AF0-3B41-459B-BBB5-B7066ABC10F5}" presName="horzOne" presStyleCnt="0"/>
      <dgm:spPr/>
    </dgm:pt>
    <dgm:pt modelId="{3841B8B0-1D70-4A64-9AF1-B41046C58357}" type="pres">
      <dgm:prSet presAssocID="{F3CE9140-141B-4DBE-B47F-A7C5796B9E80}" presName="vertTwo" presStyleCnt="0"/>
      <dgm:spPr/>
    </dgm:pt>
    <dgm:pt modelId="{1EF87A6E-5AD3-461E-BEA2-F039B23E8157}" type="pres">
      <dgm:prSet presAssocID="{F3CE9140-141B-4DBE-B47F-A7C5796B9E80}" presName="txTwo" presStyleLbl="node2" presStyleIdx="0" presStyleCnt="6">
        <dgm:presLayoutVars>
          <dgm:chPref val="3"/>
        </dgm:presLayoutVars>
      </dgm:prSet>
      <dgm:spPr/>
    </dgm:pt>
    <dgm:pt modelId="{348B3BF7-18AC-4093-A95F-E26CED4B9FCA}" type="pres">
      <dgm:prSet presAssocID="{F3CE9140-141B-4DBE-B47F-A7C5796B9E80}" presName="parTransTwo" presStyleCnt="0"/>
      <dgm:spPr/>
    </dgm:pt>
    <dgm:pt modelId="{24F6AAAC-2064-431D-A688-4B7A83647E2A}" type="pres">
      <dgm:prSet presAssocID="{F3CE9140-141B-4DBE-B47F-A7C5796B9E80}" presName="horzTwo" presStyleCnt="0"/>
      <dgm:spPr/>
    </dgm:pt>
    <dgm:pt modelId="{E9002E53-F968-43FC-9115-2445A3B86D95}" type="pres">
      <dgm:prSet presAssocID="{CC47F031-45D4-48E3-A4DD-E69B9C84DA62}" presName="vertThree" presStyleCnt="0"/>
      <dgm:spPr/>
    </dgm:pt>
    <dgm:pt modelId="{3263E878-020F-4A75-A4FE-E101DFC624BF}" type="pres">
      <dgm:prSet presAssocID="{CC47F031-45D4-48E3-A4DD-E69B9C84DA62}" presName="txThree" presStyleLbl="node3" presStyleIdx="0" presStyleCnt="1">
        <dgm:presLayoutVars>
          <dgm:chPref val="3"/>
        </dgm:presLayoutVars>
      </dgm:prSet>
      <dgm:spPr/>
    </dgm:pt>
    <dgm:pt modelId="{18BEB7BA-9D77-4D5F-84FA-6A0F59378139}" type="pres">
      <dgm:prSet presAssocID="{CC47F031-45D4-48E3-A4DD-E69B9C84DA62}" presName="horzThree" presStyleCnt="0"/>
      <dgm:spPr/>
    </dgm:pt>
    <dgm:pt modelId="{FFC46EAF-89E4-4D59-8DFE-43B8357CFF3B}" type="pres">
      <dgm:prSet presAssocID="{1EBB8EBB-F295-4859-B455-7788046F3602}" presName="sibSpaceTwo" presStyleCnt="0"/>
      <dgm:spPr/>
    </dgm:pt>
    <dgm:pt modelId="{FE19C748-DBCA-4E7D-AA62-1ED7B7BD20D8}" type="pres">
      <dgm:prSet presAssocID="{A270511C-6A12-490A-952B-15110E2BDF01}" presName="vertTwo" presStyleCnt="0"/>
      <dgm:spPr/>
    </dgm:pt>
    <dgm:pt modelId="{D75D710C-980D-483B-9F5A-B2259116AD76}" type="pres">
      <dgm:prSet presAssocID="{A270511C-6A12-490A-952B-15110E2BDF01}" presName="txTwo" presStyleLbl="node2" presStyleIdx="1" presStyleCnt="6" custScaleY="213657">
        <dgm:presLayoutVars>
          <dgm:chPref val="3"/>
        </dgm:presLayoutVars>
      </dgm:prSet>
      <dgm:spPr/>
    </dgm:pt>
    <dgm:pt modelId="{0852D6BA-1D77-4F0B-A6D6-232232530726}" type="pres">
      <dgm:prSet presAssocID="{A270511C-6A12-490A-952B-15110E2BDF01}" presName="horzTwo" presStyleCnt="0"/>
      <dgm:spPr/>
    </dgm:pt>
    <dgm:pt modelId="{7D5533B6-9122-440E-99ED-4B066D3A9F1A}" type="pres">
      <dgm:prSet presAssocID="{2FF02AFE-3A51-40F6-8FA7-65989A32F37B}" presName="sibSpaceTwo" presStyleCnt="0"/>
      <dgm:spPr/>
    </dgm:pt>
    <dgm:pt modelId="{2302C707-1896-4C73-B3FA-9FA628C426D7}" type="pres">
      <dgm:prSet presAssocID="{915E1768-08F4-4251-9EE6-913A7E742CE9}" presName="vertTwo" presStyleCnt="0"/>
      <dgm:spPr/>
    </dgm:pt>
    <dgm:pt modelId="{CE905655-5A5D-4156-AC32-FCF993EEDA05}" type="pres">
      <dgm:prSet presAssocID="{915E1768-08F4-4251-9EE6-913A7E742CE9}" presName="txTwo" presStyleLbl="node2" presStyleIdx="2" presStyleCnt="6" custScaleY="213661">
        <dgm:presLayoutVars>
          <dgm:chPref val="3"/>
        </dgm:presLayoutVars>
      </dgm:prSet>
      <dgm:spPr/>
    </dgm:pt>
    <dgm:pt modelId="{D97A4A9B-DF30-43CE-ABDC-8C67CB0442D8}" type="pres">
      <dgm:prSet presAssocID="{915E1768-08F4-4251-9EE6-913A7E742CE9}" presName="horzTwo" presStyleCnt="0"/>
      <dgm:spPr/>
    </dgm:pt>
    <dgm:pt modelId="{460E7315-8957-4AF3-87ED-B34011B4D99E}" type="pres">
      <dgm:prSet presAssocID="{8D337B6D-1E5D-48F4-8409-94C69D6BF4D9}" presName="sibSpaceTwo" presStyleCnt="0"/>
      <dgm:spPr/>
    </dgm:pt>
    <dgm:pt modelId="{33EFA438-FF2B-470E-901F-B9275B4EC4C1}" type="pres">
      <dgm:prSet presAssocID="{13FFDEA6-1C68-417A-B5CF-BBEE826EBF4F}" presName="vertTwo" presStyleCnt="0"/>
      <dgm:spPr/>
    </dgm:pt>
    <dgm:pt modelId="{F871FD43-C152-44E1-832F-F36DE802DAC1}" type="pres">
      <dgm:prSet presAssocID="{13FFDEA6-1C68-417A-B5CF-BBEE826EBF4F}" presName="txTwo" presStyleLbl="node2" presStyleIdx="3" presStyleCnt="6" custScaleY="213661">
        <dgm:presLayoutVars>
          <dgm:chPref val="3"/>
        </dgm:presLayoutVars>
      </dgm:prSet>
      <dgm:spPr/>
    </dgm:pt>
    <dgm:pt modelId="{4779B33D-F594-47E5-BA44-B5B6DDD9FA88}" type="pres">
      <dgm:prSet presAssocID="{13FFDEA6-1C68-417A-B5CF-BBEE826EBF4F}" presName="horzTwo" presStyleCnt="0"/>
      <dgm:spPr/>
    </dgm:pt>
    <dgm:pt modelId="{9EB25A1D-65C9-4F14-9FE8-6FAE711CB6CD}" type="pres">
      <dgm:prSet presAssocID="{BB8A2310-62AA-44A6-91A7-B2D5F1A045DB}" presName="sibSpaceTwo" presStyleCnt="0"/>
      <dgm:spPr/>
    </dgm:pt>
    <dgm:pt modelId="{92508538-53D7-45CB-A598-D7179DF86160}" type="pres">
      <dgm:prSet presAssocID="{CC873448-B5A1-497A-BD0F-8637981AFDE0}" presName="vertTwo" presStyleCnt="0"/>
      <dgm:spPr/>
    </dgm:pt>
    <dgm:pt modelId="{063F01DC-8AB9-486A-A455-C6FC0E7F321A}" type="pres">
      <dgm:prSet presAssocID="{CC873448-B5A1-497A-BD0F-8637981AFDE0}" presName="txTwo" presStyleLbl="node2" presStyleIdx="4" presStyleCnt="6" custScaleY="215331">
        <dgm:presLayoutVars>
          <dgm:chPref val="3"/>
        </dgm:presLayoutVars>
      </dgm:prSet>
      <dgm:spPr/>
    </dgm:pt>
    <dgm:pt modelId="{4DC67E22-8551-4DF1-A5C8-E5CC43DA1513}" type="pres">
      <dgm:prSet presAssocID="{CC873448-B5A1-497A-BD0F-8637981AFDE0}" presName="horzTwo" presStyleCnt="0"/>
      <dgm:spPr/>
    </dgm:pt>
    <dgm:pt modelId="{DAD3195B-A938-4D87-B63F-0F5D636B26EE}" type="pres">
      <dgm:prSet presAssocID="{E1ACD825-1349-4B2D-A128-DC0F13C01A9C}" presName="sibSpaceTwo" presStyleCnt="0"/>
      <dgm:spPr/>
    </dgm:pt>
    <dgm:pt modelId="{B9951F73-E38D-4694-A45A-082A1DDF3C5A}" type="pres">
      <dgm:prSet presAssocID="{69EC7AB2-E885-46E9-A946-7E811E0FFCBF}" presName="vertTwo" presStyleCnt="0"/>
      <dgm:spPr/>
    </dgm:pt>
    <dgm:pt modelId="{A1A7255B-9C20-4FBB-A171-B1C057CE100A}" type="pres">
      <dgm:prSet presAssocID="{69EC7AB2-E885-46E9-A946-7E811E0FFCBF}" presName="txTwo" presStyleLbl="node2" presStyleIdx="5" presStyleCnt="6" custScaleY="213174">
        <dgm:presLayoutVars>
          <dgm:chPref val="3"/>
        </dgm:presLayoutVars>
      </dgm:prSet>
      <dgm:spPr/>
    </dgm:pt>
    <dgm:pt modelId="{6EF5FD2C-721B-40FE-AA92-F92923C410C0}" type="pres">
      <dgm:prSet presAssocID="{69EC7AB2-E885-46E9-A946-7E811E0FFCBF}" presName="horzTwo" presStyleCnt="0"/>
      <dgm:spPr/>
    </dgm:pt>
  </dgm:ptLst>
  <dgm:cxnLst>
    <dgm:cxn modelId="{31414107-5F28-40FA-BEFA-D2DF66246F6F}" srcId="{62478AF0-3B41-459B-BBB5-B7066ABC10F5}" destId="{F3CE9140-141B-4DBE-B47F-A7C5796B9E80}" srcOrd="0" destOrd="0" parTransId="{5590851A-125B-4689-9F96-A25810953167}" sibTransId="{1EBB8EBB-F295-4859-B455-7788046F3602}"/>
    <dgm:cxn modelId="{1B09BA1B-5A04-429E-AAD1-28F4DC4541D5}" srcId="{62478AF0-3B41-459B-BBB5-B7066ABC10F5}" destId="{915E1768-08F4-4251-9EE6-913A7E742CE9}" srcOrd="2" destOrd="0" parTransId="{9FFB4A28-A3E1-4244-93C2-FAABB3158F01}" sibTransId="{8D337B6D-1E5D-48F4-8409-94C69D6BF4D9}"/>
    <dgm:cxn modelId="{E370C12A-5C6D-404E-8C75-EEA6D54592ED}" srcId="{62478AF0-3B41-459B-BBB5-B7066ABC10F5}" destId="{CC873448-B5A1-497A-BD0F-8637981AFDE0}" srcOrd="4" destOrd="0" parTransId="{D286A299-475D-4932-94E0-5B15816587E3}" sibTransId="{E1ACD825-1349-4B2D-A128-DC0F13C01A9C}"/>
    <dgm:cxn modelId="{765B5C2F-8D43-4F4C-AB3C-BA7693B6C393}" type="presOf" srcId="{B42D0486-EA2B-470B-81A0-BFDB85B933B8}" destId="{4D412444-C113-488A-AAF4-904FAF5F6DC6}" srcOrd="0" destOrd="0" presId="urn:microsoft.com/office/officeart/2005/8/layout/hierarchy4"/>
    <dgm:cxn modelId="{6627D330-0A87-40F1-9A81-429757895EA9}" srcId="{B42D0486-EA2B-470B-81A0-BFDB85B933B8}" destId="{62478AF0-3B41-459B-BBB5-B7066ABC10F5}" srcOrd="0" destOrd="0" parTransId="{1393FF9F-3B02-4C42-984A-D195E6189E89}" sibTransId="{32EB3564-D1E5-4915-A6B6-8002C3A9213E}"/>
    <dgm:cxn modelId="{D29E6E3D-CB82-4F71-B12A-DCEC1BA05850}" srcId="{62478AF0-3B41-459B-BBB5-B7066ABC10F5}" destId="{A270511C-6A12-490A-952B-15110E2BDF01}" srcOrd="1" destOrd="0" parTransId="{5FBAE78A-C581-421F-8FE5-F58AB21E9EBD}" sibTransId="{2FF02AFE-3A51-40F6-8FA7-65989A32F37B}"/>
    <dgm:cxn modelId="{165BA160-EC07-4014-9BAE-A83F7654F4AA}" srcId="{F3CE9140-141B-4DBE-B47F-A7C5796B9E80}" destId="{CC47F031-45D4-48E3-A4DD-E69B9C84DA62}" srcOrd="0" destOrd="0" parTransId="{5650ACB0-5E67-48F0-B96B-3EE9E37C9964}" sibTransId="{24BD5C56-086D-4279-8D8B-09E1E4FD3D6A}"/>
    <dgm:cxn modelId="{94D83161-6277-479D-8961-30679C426875}" type="presOf" srcId="{F3CE9140-141B-4DBE-B47F-A7C5796B9E80}" destId="{1EF87A6E-5AD3-461E-BEA2-F039B23E8157}" srcOrd="0" destOrd="0" presId="urn:microsoft.com/office/officeart/2005/8/layout/hierarchy4"/>
    <dgm:cxn modelId="{FABC704F-041E-44C5-901D-9F672BE57AE0}" type="presOf" srcId="{69EC7AB2-E885-46E9-A946-7E811E0FFCBF}" destId="{A1A7255B-9C20-4FBB-A171-B1C057CE100A}" srcOrd="0" destOrd="0" presId="urn:microsoft.com/office/officeart/2005/8/layout/hierarchy4"/>
    <dgm:cxn modelId="{9E322E77-CE0E-4984-945A-56BBF8EA1597}" type="presOf" srcId="{62478AF0-3B41-459B-BBB5-B7066ABC10F5}" destId="{9AD6089B-1F55-4F58-8A1E-8AE9E5C3BAFC}" srcOrd="0" destOrd="0" presId="urn:microsoft.com/office/officeart/2005/8/layout/hierarchy4"/>
    <dgm:cxn modelId="{88CD368F-BB1C-4B09-BCF4-60AF3164455D}" type="presOf" srcId="{A270511C-6A12-490A-952B-15110E2BDF01}" destId="{D75D710C-980D-483B-9F5A-B2259116AD76}" srcOrd="0" destOrd="0" presId="urn:microsoft.com/office/officeart/2005/8/layout/hierarchy4"/>
    <dgm:cxn modelId="{A2A630A8-2EF8-4430-8E44-97327E799684}" type="presOf" srcId="{CC47F031-45D4-48E3-A4DD-E69B9C84DA62}" destId="{3263E878-020F-4A75-A4FE-E101DFC624BF}" srcOrd="0" destOrd="0" presId="urn:microsoft.com/office/officeart/2005/8/layout/hierarchy4"/>
    <dgm:cxn modelId="{EC8B81AD-35AD-40AD-AB6B-28A128743FE8}" srcId="{62478AF0-3B41-459B-BBB5-B7066ABC10F5}" destId="{13FFDEA6-1C68-417A-B5CF-BBEE826EBF4F}" srcOrd="3" destOrd="0" parTransId="{3EBA33B0-054D-4182-A653-7AC7D28F1FBD}" sibTransId="{BB8A2310-62AA-44A6-91A7-B2D5F1A045DB}"/>
    <dgm:cxn modelId="{C3B822CB-C12C-4F6E-8B89-E1DACAC496FB}" type="presOf" srcId="{13FFDEA6-1C68-417A-B5CF-BBEE826EBF4F}" destId="{F871FD43-C152-44E1-832F-F36DE802DAC1}" srcOrd="0" destOrd="0" presId="urn:microsoft.com/office/officeart/2005/8/layout/hierarchy4"/>
    <dgm:cxn modelId="{72971FCD-08E0-4B22-AD40-7A740379E713}" type="presOf" srcId="{CC873448-B5A1-497A-BD0F-8637981AFDE0}" destId="{063F01DC-8AB9-486A-A455-C6FC0E7F321A}" srcOrd="0" destOrd="0" presId="urn:microsoft.com/office/officeart/2005/8/layout/hierarchy4"/>
    <dgm:cxn modelId="{0CB0B2DE-65F1-49A4-B9CB-F31C3EDB3873}" srcId="{62478AF0-3B41-459B-BBB5-B7066ABC10F5}" destId="{69EC7AB2-E885-46E9-A946-7E811E0FFCBF}" srcOrd="5" destOrd="0" parTransId="{9BD858B2-7C8A-401D-965D-5DABA7F8DC63}" sibTransId="{DFF7D2DC-3FF3-47AD-87B3-C471A1FA689D}"/>
    <dgm:cxn modelId="{763168F7-AE9C-4499-9B03-43AA95380357}" type="presOf" srcId="{915E1768-08F4-4251-9EE6-913A7E742CE9}" destId="{CE905655-5A5D-4156-AC32-FCF993EEDA05}" srcOrd="0" destOrd="0" presId="urn:microsoft.com/office/officeart/2005/8/layout/hierarchy4"/>
    <dgm:cxn modelId="{D7DFDEB5-6E3C-4A79-AA6F-236CF1DB21B8}" type="presParOf" srcId="{4D412444-C113-488A-AAF4-904FAF5F6DC6}" destId="{8D026478-A01D-4F52-8668-DE59887F780F}" srcOrd="0" destOrd="0" presId="urn:microsoft.com/office/officeart/2005/8/layout/hierarchy4"/>
    <dgm:cxn modelId="{E5F2452B-3741-40E4-8ED1-299600D7304C}" type="presParOf" srcId="{8D026478-A01D-4F52-8668-DE59887F780F}" destId="{9AD6089B-1F55-4F58-8A1E-8AE9E5C3BAFC}" srcOrd="0" destOrd="0" presId="urn:microsoft.com/office/officeart/2005/8/layout/hierarchy4"/>
    <dgm:cxn modelId="{7778BC31-C583-4F81-BDE3-6FBF7023CCED}" type="presParOf" srcId="{8D026478-A01D-4F52-8668-DE59887F780F}" destId="{51FFEF83-19BB-4C7C-8E76-6A7E50148412}" srcOrd="1" destOrd="0" presId="urn:microsoft.com/office/officeart/2005/8/layout/hierarchy4"/>
    <dgm:cxn modelId="{0D466737-3BF5-4A8D-B8C2-49808AA25288}" type="presParOf" srcId="{8D026478-A01D-4F52-8668-DE59887F780F}" destId="{7A9C73DC-9201-411C-9B76-669A4BC28634}" srcOrd="2" destOrd="0" presId="urn:microsoft.com/office/officeart/2005/8/layout/hierarchy4"/>
    <dgm:cxn modelId="{7E4E11B6-DE90-4D66-9606-49528ED2523B}" type="presParOf" srcId="{7A9C73DC-9201-411C-9B76-669A4BC28634}" destId="{3841B8B0-1D70-4A64-9AF1-B41046C58357}" srcOrd="0" destOrd="0" presId="urn:microsoft.com/office/officeart/2005/8/layout/hierarchy4"/>
    <dgm:cxn modelId="{29EAFC22-6381-477D-82A9-ED6133F4415E}" type="presParOf" srcId="{3841B8B0-1D70-4A64-9AF1-B41046C58357}" destId="{1EF87A6E-5AD3-461E-BEA2-F039B23E8157}" srcOrd="0" destOrd="0" presId="urn:microsoft.com/office/officeart/2005/8/layout/hierarchy4"/>
    <dgm:cxn modelId="{F121C1C3-206D-48D3-8578-4B1EA594823F}" type="presParOf" srcId="{3841B8B0-1D70-4A64-9AF1-B41046C58357}" destId="{348B3BF7-18AC-4093-A95F-E26CED4B9FCA}" srcOrd="1" destOrd="0" presId="urn:microsoft.com/office/officeart/2005/8/layout/hierarchy4"/>
    <dgm:cxn modelId="{220B0A4E-702F-46B3-9117-83712E6D5D2B}" type="presParOf" srcId="{3841B8B0-1D70-4A64-9AF1-B41046C58357}" destId="{24F6AAAC-2064-431D-A688-4B7A83647E2A}" srcOrd="2" destOrd="0" presId="urn:microsoft.com/office/officeart/2005/8/layout/hierarchy4"/>
    <dgm:cxn modelId="{57FE5A89-A69A-42CA-B268-2A7F134AD655}" type="presParOf" srcId="{24F6AAAC-2064-431D-A688-4B7A83647E2A}" destId="{E9002E53-F968-43FC-9115-2445A3B86D95}" srcOrd="0" destOrd="0" presId="urn:microsoft.com/office/officeart/2005/8/layout/hierarchy4"/>
    <dgm:cxn modelId="{FABD74BE-0B64-4FD9-8BEC-245473BAFFD7}" type="presParOf" srcId="{E9002E53-F968-43FC-9115-2445A3B86D95}" destId="{3263E878-020F-4A75-A4FE-E101DFC624BF}" srcOrd="0" destOrd="0" presId="urn:microsoft.com/office/officeart/2005/8/layout/hierarchy4"/>
    <dgm:cxn modelId="{3122BBC4-28D4-4B21-A5E9-1BB0497942E3}" type="presParOf" srcId="{E9002E53-F968-43FC-9115-2445A3B86D95}" destId="{18BEB7BA-9D77-4D5F-84FA-6A0F59378139}" srcOrd="1" destOrd="0" presId="urn:microsoft.com/office/officeart/2005/8/layout/hierarchy4"/>
    <dgm:cxn modelId="{57C3CE0C-BB8A-410B-8D8E-31A15A489E31}" type="presParOf" srcId="{7A9C73DC-9201-411C-9B76-669A4BC28634}" destId="{FFC46EAF-89E4-4D59-8DFE-43B8357CFF3B}" srcOrd="1" destOrd="0" presId="urn:microsoft.com/office/officeart/2005/8/layout/hierarchy4"/>
    <dgm:cxn modelId="{F937EEAC-2653-494B-A098-A909013AD497}" type="presParOf" srcId="{7A9C73DC-9201-411C-9B76-669A4BC28634}" destId="{FE19C748-DBCA-4E7D-AA62-1ED7B7BD20D8}" srcOrd="2" destOrd="0" presId="urn:microsoft.com/office/officeart/2005/8/layout/hierarchy4"/>
    <dgm:cxn modelId="{86FEF9BC-B43E-411D-8536-54B734D94963}" type="presParOf" srcId="{FE19C748-DBCA-4E7D-AA62-1ED7B7BD20D8}" destId="{D75D710C-980D-483B-9F5A-B2259116AD76}" srcOrd="0" destOrd="0" presId="urn:microsoft.com/office/officeart/2005/8/layout/hierarchy4"/>
    <dgm:cxn modelId="{E39AC692-3817-4ECD-B01E-DB94FA4030A6}" type="presParOf" srcId="{FE19C748-DBCA-4E7D-AA62-1ED7B7BD20D8}" destId="{0852D6BA-1D77-4F0B-A6D6-232232530726}" srcOrd="1" destOrd="0" presId="urn:microsoft.com/office/officeart/2005/8/layout/hierarchy4"/>
    <dgm:cxn modelId="{2DACE1C7-6C95-4801-B157-F12FE9BD6E3A}" type="presParOf" srcId="{7A9C73DC-9201-411C-9B76-669A4BC28634}" destId="{7D5533B6-9122-440E-99ED-4B066D3A9F1A}" srcOrd="3" destOrd="0" presId="urn:microsoft.com/office/officeart/2005/8/layout/hierarchy4"/>
    <dgm:cxn modelId="{7ED1AD4F-2BA1-4BAC-B46D-E1F30D9CF89D}" type="presParOf" srcId="{7A9C73DC-9201-411C-9B76-669A4BC28634}" destId="{2302C707-1896-4C73-B3FA-9FA628C426D7}" srcOrd="4" destOrd="0" presId="urn:microsoft.com/office/officeart/2005/8/layout/hierarchy4"/>
    <dgm:cxn modelId="{E9F370E8-713B-41E6-9E8F-D55D886C9F8D}" type="presParOf" srcId="{2302C707-1896-4C73-B3FA-9FA628C426D7}" destId="{CE905655-5A5D-4156-AC32-FCF993EEDA05}" srcOrd="0" destOrd="0" presId="urn:microsoft.com/office/officeart/2005/8/layout/hierarchy4"/>
    <dgm:cxn modelId="{134F242A-3E15-4181-BA02-7E4119539C8E}" type="presParOf" srcId="{2302C707-1896-4C73-B3FA-9FA628C426D7}" destId="{D97A4A9B-DF30-43CE-ABDC-8C67CB0442D8}" srcOrd="1" destOrd="0" presId="urn:microsoft.com/office/officeart/2005/8/layout/hierarchy4"/>
    <dgm:cxn modelId="{0276B1C9-82E5-435E-AC97-AA9745E52CD8}" type="presParOf" srcId="{7A9C73DC-9201-411C-9B76-669A4BC28634}" destId="{460E7315-8957-4AF3-87ED-B34011B4D99E}" srcOrd="5" destOrd="0" presId="urn:microsoft.com/office/officeart/2005/8/layout/hierarchy4"/>
    <dgm:cxn modelId="{01EAAC22-7BEB-4EC6-B9B1-DBEB931A993C}" type="presParOf" srcId="{7A9C73DC-9201-411C-9B76-669A4BC28634}" destId="{33EFA438-FF2B-470E-901F-B9275B4EC4C1}" srcOrd="6" destOrd="0" presId="urn:microsoft.com/office/officeart/2005/8/layout/hierarchy4"/>
    <dgm:cxn modelId="{96F35297-93D9-4EB1-A96F-5F38F408C66B}" type="presParOf" srcId="{33EFA438-FF2B-470E-901F-B9275B4EC4C1}" destId="{F871FD43-C152-44E1-832F-F36DE802DAC1}" srcOrd="0" destOrd="0" presId="urn:microsoft.com/office/officeart/2005/8/layout/hierarchy4"/>
    <dgm:cxn modelId="{9A9FB2BD-B68E-4524-9A90-2E1499933340}" type="presParOf" srcId="{33EFA438-FF2B-470E-901F-B9275B4EC4C1}" destId="{4779B33D-F594-47E5-BA44-B5B6DDD9FA88}" srcOrd="1" destOrd="0" presId="urn:microsoft.com/office/officeart/2005/8/layout/hierarchy4"/>
    <dgm:cxn modelId="{FBF998D6-83A3-4455-8DB1-B56254E988A6}" type="presParOf" srcId="{7A9C73DC-9201-411C-9B76-669A4BC28634}" destId="{9EB25A1D-65C9-4F14-9FE8-6FAE711CB6CD}" srcOrd="7" destOrd="0" presId="urn:microsoft.com/office/officeart/2005/8/layout/hierarchy4"/>
    <dgm:cxn modelId="{A2EBEF49-ED0A-4DDD-B295-EA1868EBB44F}" type="presParOf" srcId="{7A9C73DC-9201-411C-9B76-669A4BC28634}" destId="{92508538-53D7-45CB-A598-D7179DF86160}" srcOrd="8" destOrd="0" presId="urn:microsoft.com/office/officeart/2005/8/layout/hierarchy4"/>
    <dgm:cxn modelId="{EBCDBB33-5FD7-4B1D-B1E0-DDDBF7164325}" type="presParOf" srcId="{92508538-53D7-45CB-A598-D7179DF86160}" destId="{063F01DC-8AB9-486A-A455-C6FC0E7F321A}" srcOrd="0" destOrd="0" presId="urn:microsoft.com/office/officeart/2005/8/layout/hierarchy4"/>
    <dgm:cxn modelId="{F92B4A79-F6C7-4886-9859-40E081945FA0}" type="presParOf" srcId="{92508538-53D7-45CB-A598-D7179DF86160}" destId="{4DC67E22-8551-4DF1-A5C8-E5CC43DA1513}" srcOrd="1" destOrd="0" presId="urn:microsoft.com/office/officeart/2005/8/layout/hierarchy4"/>
    <dgm:cxn modelId="{C56EE483-FE53-4E01-849D-E399D656FBB1}" type="presParOf" srcId="{7A9C73DC-9201-411C-9B76-669A4BC28634}" destId="{DAD3195B-A938-4D87-B63F-0F5D636B26EE}" srcOrd="9" destOrd="0" presId="urn:microsoft.com/office/officeart/2005/8/layout/hierarchy4"/>
    <dgm:cxn modelId="{F665BB72-B3AB-49A5-91F5-614CEE2DDC36}" type="presParOf" srcId="{7A9C73DC-9201-411C-9B76-669A4BC28634}" destId="{B9951F73-E38D-4694-A45A-082A1DDF3C5A}" srcOrd="10" destOrd="0" presId="urn:microsoft.com/office/officeart/2005/8/layout/hierarchy4"/>
    <dgm:cxn modelId="{9A6D1E76-02C0-4395-9865-EB6E5BBB5D10}" type="presParOf" srcId="{B9951F73-E38D-4694-A45A-082A1DDF3C5A}" destId="{A1A7255B-9C20-4FBB-A171-B1C057CE100A}" srcOrd="0" destOrd="0" presId="urn:microsoft.com/office/officeart/2005/8/layout/hierarchy4"/>
    <dgm:cxn modelId="{367DB95D-C310-4F5A-A36A-000F384752DE}" type="presParOf" srcId="{B9951F73-E38D-4694-A45A-082A1DDF3C5A}" destId="{6EF5FD2C-721B-40FE-AA92-F92923C410C0}" srcOrd="1" destOrd="0" presId="urn:microsoft.com/office/officeart/2005/8/layout/hierarchy4"/>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AD6089B-1F55-4F58-8A1E-8AE9E5C3BAFC}">
      <dsp:nvSpPr>
        <dsp:cNvPr id="0" name=""/>
        <dsp:cNvSpPr/>
      </dsp:nvSpPr>
      <dsp:spPr>
        <a:xfrm>
          <a:off x="108" y="54398"/>
          <a:ext cx="11083816" cy="1409149"/>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32410" tIns="232410" rIns="232410" bIns="232410" numCol="1" spcCol="1270" anchor="ctr" anchorCtr="0">
          <a:noAutofit/>
        </a:bodyPr>
        <a:lstStyle/>
        <a:p>
          <a:pPr marL="0" lvl="0" indent="0" algn="ctr" defTabSz="2711450">
            <a:lnSpc>
              <a:spcPct val="90000"/>
            </a:lnSpc>
            <a:spcBef>
              <a:spcPct val="0"/>
            </a:spcBef>
            <a:spcAft>
              <a:spcPct val="35000"/>
            </a:spcAft>
            <a:buNone/>
          </a:pPr>
          <a:r>
            <a:rPr lang="en-US" sz="6100" b="1" kern="1200" dirty="0"/>
            <a:t>DIG</a:t>
          </a:r>
        </a:p>
      </dsp:txBody>
      <dsp:txXfrm>
        <a:off x="41381" y="95671"/>
        <a:ext cx="11001270" cy="1326603"/>
      </dsp:txXfrm>
    </dsp:sp>
    <dsp:sp modelId="{1EF87A6E-5AD3-461E-BEA2-F039B23E8157}">
      <dsp:nvSpPr>
        <dsp:cNvPr id="0" name=""/>
        <dsp:cNvSpPr/>
      </dsp:nvSpPr>
      <dsp:spPr>
        <a:xfrm>
          <a:off x="10872" y="1597977"/>
          <a:ext cx="1723080" cy="1409149"/>
        </a:xfrm>
        <a:prstGeom prst="roundRect">
          <a:avLst>
            <a:gd name="adj" fmla="val 10000"/>
          </a:avLst>
        </a:prstGeom>
        <a:solidFill>
          <a:schemeClr val="tx2">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dirty="0"/>
            <a:t>Governed Data Catalog</a:t>
          </a:r>
        </a:p>
        <a:p>
          <a:pPr marL="0" lvl="0" indent="0" algn="ctr" defTabSz="711200">
            <a:lnSpc>
              <a:spcPct val="90000"/>
            </a:lnSpc>
            <a:spcBef>
              <a:spcPct val="0"/>
            </a:spcBef>
            <a:spcAft>
              <a:spcPct val="35000"/>
            </a:spcAft>
            <a:buNone/>
          </a:pPr>
          <a:r>
            <a:rPr lang="en-US" sz="1600" b="1" kern="1200" dirty="0"/>
            <a:t>(Business &amp; Technical Metadata)</a:t>
          </a:r>
        </a:p>
      </dsp:txBody>
      <dsp:txXfrm>
        <a:off x="52145" y="1639250"/>
        <a:ext cx="1640534" cy="1326603"/>
      </dsp:txXfrm>
    </dsp:sp>
    <dsp:sp modelId="{3263E878-020F-4A75-A4FE-E101DFC624BF}">
      <dsp:nvSpPr>
        <dsp:cNvPr id="0" name=""/>
        <dsp:cNvSpPr/>
      </dsp:nvSpPr>
      <dsp:spPr>
        <a:xfrm>
          <a:off x="10872" y="3195943"/>
          <a:ext cx="1723080" cy="1409149"/>
        </a:xfrm>
        <a:prstGeom prst="roundRect">
          <a:avLst>
            <a:gd name="adj" fmla="val 10000"/>
          </a:avLst>
        </a:prstGeom>
        <a:solidFill>
          <a:schemeClr val="tx2">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dirty="0"/>
            <a:t>Inventoried Data</a:t>
          </a:r>
        </a:p>
      </dsp:txBody>
      <dsp:txXfrm>
        <a:off x="52145" y="3237216"/>
        <a:ext cx="1640534" cy="1326603"/>
      </dsp:txXfrm>
    </dsp:sp>
    <dsp:sp modelId="{D75D710C-980D-483B-9F5A-B2259116AD76}">
      <dsp:nvSpPr>
        <dsp:cNvPr id="0" name=""/>
        <dsp:cNvSpPr/>
      </dsp:nvSpPr>
      <dsp:spPr>
        <a:xfrm>
          <a:off x="1878692" y="1597977"/>
          <a:ext cx="1723080" cy="3010746"/>
        </a:xfrm>
        <a:prstGeom prst="roundRect">
          <a:avLst>
            <a:gd name="adj" fmla="val 10000"/>
          </a:avLst>
        </a:prstGeom>
        <a:solidFill>
          <a:schemeClr val="accent1">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dirty="0"/>
            <a:t>Business Glossary</a:t>
          </a:r>
        </a:p>
      </dsp:txBody>
      <dsp:txXfrm>
        <a:off x="1929159" y="1648444"/>
        <a:ext cx="1622146" cy="2909812"/>
      </dsp:txXfrm>
    </dsp:sp>
    <dsp:sp modelId="{CE905655-5A5D-4156-AC32-FCF993EEDA05}">
      <dsp:nvSpPr>
        <dsp:cNvPr id="0" name=""/>
        <dsp:cNvSpPr/>
      </dsp:nvSpPr>
      <dsp:spPr>
        <a:xfrm>
          <a:off x="3746512" y="1597977"/>
          <a:ext cx="1723080" cy="3010803"/>
        </a:xfrm>
        <a:prstGeom prst="roundRect">
          <a:avLst>
            <a:gd name="adj" fmla="val 10000"/>
          </a:avLst>
        </a:prstGeom>
        <a:solidFill>
          <a:schemeClr val="accent1">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dirty="0"/>
            <a:t>Data Quality</a:t>
          </a:r>
        </a:p>
      </dsp:txBody>
      <dsp:txXfrm>
        <a:off x="3796979" y="1648444"/>
        <a:ext cx="1622146" cy="2909869"/>
      </dsp:txXfrm>
    </dsp:sp>
    <dsp:sp modelId="{F871FD43-C152-44E1-832F-F36DE802DAC1}">
      <dsp:nvSpPr>
        <dsp:cNvPr id="0" name=""/>
        <dsp:cNvSpPr/>
      </dsp:nvSpPr>
      <dsp:spPr>
        <a:xfrm>
          <a:off x="5614331" y="1597977"/>
          <a:ext cx="1723080" cy="3010803"/>
        </a:xfrm>
        <a:prstGeom prst="roundRect">
          <a:avLst>
            <a:gd name="adj" fmla="val 10000"/>
          </a:avLst>
        </a:prstGeom>
        <a:solidFill>
          <a:schemeClr val="accent1">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dirty="0"/>
            <a:t>Data Policies</a:t>
          </a:r>
        </a:p>
      </dsp:txBody>
      <dsp:txXfrm>
        <a:off x="5664798" y="1648444"/>
        <a:ext cx="1622146" cy="2909869"/>
      </dsp:txXfrm>
    </dsp:sp>
    <dsp:sp modelId="{063F01DC-8AB9-486A-A455-C6FC0E7F321A}">
      <dsp:nvSpPr>
        <dsp:cNvPr id="0" name=""/>
        <dsp:cNvSpPr/>
      </dsp:nvSpPr>
      <dsp:spPr>
        <a:xfrm>
          <a:off x="7482151" y="1597977"/>
          <a:ext cx="1723080" cy="3034336"/>
        </a:xfrm>
        <a:prstGeom prst="roundRect">
          <a:avLst>
            <a:gd name="adj" fmla="val 10000"/>
          </a:avLst>
        </a:prstGeom>
        <a:solidFill>
          <a:schemeClr val="accent1">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dirty="0"/>
            <a:t>Certified Metrics &amp; Business Logic</a:t>
          </a:r>
        </a:p>
      </dsp:txBody>
      <dsp:txXfrm>
        <a:off x="7532618" y="1648444"/>
        <a:ext cx="1622146" cy="2933402"/>
      </dsp:txXfrm>
    </dsp:sp>
    <dsp:sp modelId="{A1A7255B-9C20-4FBB-A171-B1C057CE100A}">
      <dsp:nvSpPr>
        <dsp:cNvPr id="0" name=""/>
        <dsp:cNvSpPr/>
      </dsp:nvSpPr>
      <dsp:spPr>
        <a:xfrm>
          <a:off x="9349971" y="1597977"/>
          <a:ext cx="1723080" cy="3003940"/>
        </a:xfrm>
        <a:prstGeom prst="roundRect">
          <a:avLst>
            <a:gd name="adj" fmla="val 10000"/>
          </a:avLst>
        </a:prstGeom>
        <a:solidFill>
          <a:schemeClr val="accent1">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dirty="0"/>
            <a:t>Data Lineage &amp; Reference Data Management</a:t>
          </a:r>
        </a:p>
        <a:p>
          <a:pPr marL="0" lvl="0" indent="0" algn="ctr" defTabSz="711200">
            <a:lnSpc>
              <a:spcPct val="90000"/>
            </a:lnSpc>
            <a:spcBef>
              <a:spcPct val="0"/>
            </a:spcBef>
            <a:spcAft>
              <a:spcPct val="35000"/>
            </a:spcAft>
            <a:buNone/>
          </a:pPr>
          <a:endParaRPr lang="en-US" sz="1600" b="1" kern="1200" dirty="0"/>
        </a:p>
      </dsp:txBody>
      <dsp:txXfrm>
        <a:off x="9400438" y="1648444"/>
        <a:ext cx="1622146" cy="2903006"/>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6DA3AF2-7D48-499D-88A5-1EAF1942DD5B}" type="datetimeFigureOut">
              <a:rPr lang="en-US" smtClean="0"/>
              <a:t>4/23/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FA658AE-29CB-42AB-AD47-39B258417791}" type="slidenum">
              <a:rPr lang="en-US" smtClean="0"/>
              <a:t>‹#›</a:t>
            </a:fld>
            <a:endParaRPr lang="en-US"/>
          </a:p>
        </p:txBody>
      </p:sp>
    </p:spTree>
    <p:extLst>
      <p:ext uri="{BB962C8B-B14F-4D97-AF65-F5344CB8AC3E}">
        <p14:creationId xmlns:p14="http://schemas.microsoft.com/office/powerpoint/2010/main" val="220425474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8" Type="http://schemas.openxmlformats.org/officeDocument/2006/relationships/hyperlink" Target="https://oag.ca.gov/privacy/ccpa" TargetMode="External"/><Relationship Id="rId3" Type="http://schemas.openxmlformats.org/officeDocument/2006/relationships/hyperlink" Target="https://atlan.com/platform/data-lineage-governance/" TargetMode="External"/><Relationship Id="rId7" Type="http://schemas.openxmlformats.org/officeDocument/2006/relationships/hyperlink" Target="https://gdpr.eu/what-is-gdpr/" TargetMode="External"/><Relationship Id="rId2" Type="http://schemas.openxmlformats.org/officeDocument/2006/relationships/slide" Target="../slides/slide8.xml"/><Relationship Id="rId1" Type="http://schemas.openxmlformats.org/officeDocument/2006/relationships/notesMaster" Target="../notesMasters/notesMaster1.xml"/><Relationship Id="rId6" Type="http://schemas.openxmlformats.org/officeDocument/2006/relationships/hyperlink" Target="https://atlan.com/data-lineage-101/" TargetMode="External"/><Relationship Id="rId5" Type="http://schemas.openxmlformats.org/officeDocument/2006/relationships/hyperlink" Target="https://atlan.com/what-is-a-business-glossary/" TargetMode="External"/><Relationship Id="rId4" Type="http://schemas.openxmlformats.org/officeDocument/2006/relationships/hyperlink" Target="https://atlan.com/platform/data-catalog/" TargetMode="Externa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4144A30-19BA-4904-962C-35A99D503AE2}" type="slidenum">
              <a:rPr lang="en-US" smtClean="0"/>
              <a:t>1</a:t>
            </a:fld>
            <a:endParaRPr lang="en-US"/>
          </a:p>
        </p:txBody>
      </p:sp>
    </p:spTree>
    <p:extLst>
      <p:ext uri="{BB962C8B-B14F-4D97-AF65-F5344CB8AC3E}">
        <p14:creationId xmlns:p14="http://schemas.microsoft.com/office/powerpoint/2010/main" val="387100372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IG is the central collaboration point for Data Governance.  It is a home-grown application, that is continuing to expand.</a:t>
            </a:r>
          </a:p>
          <a:p>
            <a:endParaRPr lang="en-US" dirty="0"/>
          </a:p>
          <a:p>
            <a:r>
              <a:rPr lang="en-US" dirty="0"/>
              <a:t>Its initial focus was to capture data dictionaries, which provide the technical metadata for our databases; this was captured on an ad-hoc basis.</a:t>
            </a:r>
          </a:p>
          <a:p>
            <a:r>
              <a:rPr lang="en-US" dirty="0"/>
              <a:t>With the implementation of scanning technology, we are now scanning the technical metadata of over 2000 databases on various RDMS </a:t>
            </a:r>
          </a:p>
          <a:p>
            <a:endParaRPr lang="en-US" dirty="0"/>
          </a:p>
          <a:p>
            <a:r>
              <a:rPr lang="en-US" dirty="0"/>
              <a:t>Another early capability was to capture business logic and certified metrics to ensure consistent calculation of various metrics.</a:t>
            </a:r>
          </a:p>
          <a:p>
            <a:endParaRPr lang="en-US" dirty="0"/>
          </a:p>
          <a:p>
            <a:r>
              <a:rPr lang="en-US" dirty="0"/>
              <a:t>Most recently, we’ve added a business glossary to DIG, to begin to create a platform for consistent identification of our data, as well as enabling the scalable application of data governance and data management principles.</a:t>
            </a:r>
          </a:p>
          <a:p>
            <a:r>
              <a:rPr lang="en-US" dirty="0"/>
              <a:t>Leveraging these foundations, we’ll continue to expand our glossary of terms and related assets, apply data quality monitoring, identify the lineage of data and standardize the distribution of reference data.</a:t>
            </a:r>
          </a:p>
          <a:p>
            <a:endParaRPr lang="en-US" dirty="0"/>
          </a:p>
          <a:p>
            <a:r>
              <a:rPr lang="en-US" dirty="0"/>
              <a:t>Joining the “</a:t>
            </a:r>
            <a:r>
              <a:rPr lang="en-US" dirty="0" err="1"/>
              <a:t>TalkDataToMe</a:t>
            </a:r>
            <a:r>
              <a:rPr lang="en-US" dirty="0"/>
              <a:t>” community ensures you receive the latest release and news information regarding new features in DIG.</a:t>
            </a:r>
          </a:p>
          <a:p>
            <a:endParaRPr lang="en-US" dirty="0"/>
          </a:p>
          <a:p>
            <a:r>
              <a:rPr lang="en-US" dirty="0"/>
              <a:t>Let’s take a brief tour of DIG</a:t>
            </a:r>
          </a:p>
          <a:p>
            <a:endParaRPr lang="en-US" dirty="0"/>
          </a:p>
          <a:p>
            <a:endParaRPr lang="en-US" dirty="0"/>
          </a:p>
        </p:txBody>
      </p:sp>
      <p:sp>
        <p:nvSpPr>
          <p:cNvPr id="4" name="Slide Number Placeholder 3"/>
          <p:cNvSpPr>
            <a:spLocks noGrp="1"/>
          </p:cNvSpPr>
          <p:nvPr>
            <p:ph type="sldNum" sz="quarter" idx="5"/>
          </p:nvPr>
        </p:nvSpPr>
        <p:spPr/>
        <p:txBody>
          <a:bodyPr/>
          <a:lstStyle/>
          <a:p>
            <a:fld id="{5FA658AE-29CB-42AB-AD47-39B258417791}" type="slidenum">
              <a:rPr lang="en-US" smtClean="0"/>
              <a:t>14</a:t>
            </a:fld>
            <a:endParaRPr lang="en-US"/>
          </a:p>
        </p:txBody>
      </p:sp>
    </p:spTree>
    <p:extLst>
      <p:ext uri="{BB962C8B-B14F-4D97-AF65-F5344CB8AC3E}">
        <p14:creationId xmlns:p14="http://schemas.microsoft.com/office/powerpoint/2010/main" val="419359311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4144A30-19BA-4904-962C-35A99D503AE2}" type="slidenum">
              <a:rPr lang="en-US" smtClean="0"/>
              <a:t>15</a:t>
            </a:fld>
            <a:endParaRPr lang="en-US"/>
          </a:p>
        </p:txBody>
      </p:sp>
    </p:spTree>
    <p:extLst>
      <p:ext uri="{BB962C8B-B14F-4D97-AF65-F5344CB8AC3E}">
        <p14:creationId xmlns:p14="http://schemas.microsoft.com/office/powerpoint/2010/main" val="415494451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216C7F34-53C9-4B58-A93E-04D698019459}" type="slidenum">
              <a:rPr lang="en-US" smtClean="0"/>
              <a:t>16</a:t>
            </a:fld>
            <a:endParaRPr lang="en-US"/>
          </a:p>
        </p:txBody>
      </p:sp>
    </p:spTree>
    <p:extLst>
      <p:ext uri="{BB962C8B-B14F-4D97-AF65-F5344CB8AC3E}">
        <p14:creationId xmlns:p14="http://schemas.microsoft.com/office/powerpoint/2010/main" val="193228434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216C7F34-53C9-4B58-A93E-04D698019459}" type="slidenum">
              <a:rPr lang="en-US" smtClean="0"/>
              <a:t>17</a:t>
            </a:fld>
            <a:endParaRPr lang="en-US"/>
          </a:p>
        </p:txBody>
      </p:sp>
    </p:spTree>
    <p:extLst>
      <p:ext uri="{BB962C8B-B14F-4D97-AF65-F5344CB8AC3E}">
        <p14:creationId xmlns:p14="http://schemas.microsoft.com/office/powerpoint/2010/main" val="86759671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dirty="0"/>
              <a:t>So How does BG help me beyond this MVP?</a:t>
            </a:r>
          </a:p>
          <a:p>
            <a:pPr marL="0" indent="0">
              <a:buFontTx/>
              <a:buNone/>
            </a:pPr>
            <a:endParaRPr lang="en-US" dirty="0"/>
          </a:p>
          <a:p>
            <a:pPr marL="171450" indent="-171450">
              <a:buFontTx/>
              <a:buChar char="-"/>
            </a:pPr>
            <a:r>
              <a:rPr lang="en-US" dirty="0"/>
              <a:t>Creates a scalable way to standardize how we describe data, regardless of the specific, contextual label associated with where it’s stored – this enables you to assess and govern common data across your business unit (as well as the organization) and illustrate controls around our most valuable assets; think of it as levelling up when you look at variations of labels across data dictionaries.  This illustration provides a simple example of what I mean – we can agree that all 3 of these things are variations of names and that could be the business term we document, while still providing further context about that term in the data dictionary entries.  From a governance perspective, similar activities would need to occur across all 3 of these variations of the term name – they could all be considered PI, they would all likely have the same components of first, middle and last name, and there are likely some similar data quality rules around the need for them to be complete, etc.</a:t>
            </a:r>
          </a:p>
          <a:p>
            <a:pPr marL="171450" indent="-171450">
              <a:buFontTx/>
              <a:buChar char="-"/>
            </a:pPr>
            <a:endParaRPr lang="en-US" dirty="0"/>
          </a:p>
          <a:p>
            <a:pPr marL="171450" indent="-171450">
              <a:buFontTx/>
              <a:buChar char="-"/>
            </a:pPr>
            <a:r>
              <a:rPr lang="en-US" dirty="0"/>
              <a:t>Taking my illustration into account, you might create a term with more context to it by adding an adjective such as employee, agent, claimant name or other contextual characteristics.  As we roll out future versions of business glossary, you’ll be able to identify those related business terms where you feel that is relevant or still continue to add that context within the individual data dictionary entries. </a:t>
            </a:r>
            <a:r>
              <a:rPr lang="en-US" b="1" dirty="0"/>
              <a:t>[click]</a:t>
            </a:r>
            <a:endParaRPr lang="en-US" dirty="0"/>
          </a:p>
          <a:p>
            <a:pPr marL="171450" indent="-171450">
              <a:buFontTx/>
              <a:buChar char="-"/>
            </a:pPr>
            <a:endParaRPr lang="en-US" dirty="0"/>
          </a:p>
          <a:p>
            <a:pPr marL="171450" indent="-171450">
              <a:buFontTx/>
              <a:buChar char="-"/>
            </a:pPr>
            <a:r>
              <a:rPr lang="en-US" dirty="0"/>
              <a:t>We all agree that documenting data is a necessary, but time consuming effort; business glossary allows you to </a:t>
            </a:r>
            <a:r>
              <a:rPr lang="en-US" b="1" dirty="0"/>
              <a:t>document a term and definition once </a:t>
            </a:r>
            <a:r>
              <a:rPr lang="en-US" dirty="0"/>
              <a:t>and then </a:t>
            </a:r>
            <a:r>
              <a:rPr lang="en-US" b="1" dirty="0"/>
              <a:t>link it to the various data dictionaries without having to redefine </a:t>
            </a:r>
            <a:r>
              <a:rPr lang="en-US" dirty="0"/>
              <a:t>and/or copy it again.  As the number of terms increases over time, you’ll be able to link to pre-existing terms, and merely add any context as required, potentially reducing the overall time to document.  This does NOT mean that you will need to submit a business term for EVERY data dictionary entry – use it judiciously, where there is repetition or the need to govern and/or identify the same data widely </a:t>
            </a:r>
            <a:r>
              <a:rPr lang="en-US" b="1" dirty="0"/>
              <a:t>[click]</a:t>
            </a:r>
            <a:endParaRPr lang="en-US" dirty="0"/>
          </a:p>
          <a:p>
            <a:pPr marL="171450" indent="-171450">
              <a:buFontTx/>
              <a:buChar char="-"/>
            </a:pPr>
            <a:endParaRPr lang="en-US" dirty="0"/>
          </a:p>
          <a:p>
            <a:pPr marL="171450" indent="-171450">
              <a:buFontTx/>
              <a:buChar char="-"/>
            </a:pPr>
            <a:r>
              <a:rPr lang="en-US" dirty="0"/>
              <a:t>Because the workflow for new terms will include classification of those terms by the data privacy and info security teams, our ability to identify sensitive data consistently improves and reduces our risk – it’s also one less thing you’re responsible for  </a:t>
            </a:r>
            <a:r>
              <a:rPr lang="en-US" b="1" dirty="0"/>
              <a:t>[click]</a:t>
            </a:r>
            <a:endParaRPr lang="en-US" dirty="0"/>
          </a:p>
          <a:p>
            <a:pPr marL="171450" indent="-171450">
              <a:buFontTx/>
              <a:buChar char="-"/>
            </a:pPr>
            <a:endParaRPr lang="en-US" dirty="0"/>
          </a:p>
          <a:p>
            <a:pPr marL="171450" indent="-171450">
              <a:buFontTx/>
              <a:buChar char="-"/>
            </a:pPr>
            <a:r>
              <a:rPr lang="en-US" dirty="0"/>
              <a:t>As we think forward to future compliance activities, we’ll be able to leverage Business Glossary to widely distribute the elements that must be identified for compliance, and enable you to tag that data in the various data dictionaries. – reducing the spreadsheet activities of the past.  </a:t>
            </a:r>
          </a:p>
          <a:p>
            <a:pPr marL="171450" indent="-171450">
              <a:buFontTx/>
              <a:buChar char="-"/>
            </a:pPr>
            <a:endParaRPr lang="en-US" dirty="0"/>
          </a:p>
          <a:p>
            <a:pPr marL="171450" indent="-171450">
              <a:buFontTx/>
              <a:buChar char="-"/>
            </a:pPr>
            <a:endParaRPr lang="en-US" dirty="0"/>
          </a:p>
          <a:p>
            <a:pPr marL="171450" indent="-171450">
              <a:buFontTx/>
              <a:buChar char="-"/>
            </a:pP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6D4ABAB-07D6-4859-A697-532FB5E9EE3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5313016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Our initial MVP of Business Glossary is a result of the work you’ve done to be compliant with PI/CHS regulations.  The PI and CHS terms defined by our Legal, Data Privacy and Info security teams comprise the initial Business Glossary </a:t>
            </a:r>
            <a:r>
              <a:rPr lang="en-US" b="1" i="1" u="sng" dirty="0"/>
              <a:t>[click]</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nd a list of all the physical locations where those assets are found will be displayed as Related Assets within the Glossary, as well as how they were classified.  Conversely, </a:t>
            </a:r>
            <a:r>
              <a:rPr lang="en-US" b="1" i="1" u="sng" dirty="0"/>
              <a:t>[click]</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data dictionaries will be updated to indicate the Business Term tags that have been captured and associated with them.</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You’ve already done the work to create this valuable asset – and you’ll be able to reap the benefit of business glossary as we work to comply with some new consumer privacy protections – much of that data is PI and will already have been tagge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6D4ABAB-07D6-4859-A697-532FB5E9EE3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4755941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F95EDBA-70FD-3442-8739-8E5C540C2613}" type="slidenum">
              <a:rPr lang="en-US" smtClean="0"/>
              <a:pPr/>
              <a:t>21</a:t>
            </a:fld>
            <a:endParaRPr lang="en-US"/>
          </a:p>
        </p:txBody>
      </p:sp>
    </p:spTree>
    <p:extLst>
      <p:ext uri="{BB962C8B-B14F-4D97-AF65-F5344CB8AC3E}">
        <p14:creationId xmlns:p14="http://schemas.microsoft.com/office/powerpoint/2010/main" val="32408471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685800"/>
            <a:r>
              <a:rPr lang="en-US" sz="1100" b="1" dirty="0">
                <a:solidFill>
                  <a:srgbClr val="132E57"/>
                </a:solidFill>
                <a:effectLst/>
                <a:latin typeface="Open Sans" panose="020B0606030504020204" pitchFamily="34" charset="0"/>
              </a:rPr>
              <a:t>We don’t manufacture things – the service we provide is to provide insurance to our customers at the most competitive yet profitable price possible by leveraging all the data points we have to analyze risk, probabilities, trends etc.  </a:t>
            </a:r>
          </a:p>
          <a:p>
            <a:pPr marL="685800"/>
            <a:r>
              <a:rPr lang="en-US" sz="1100" b="1" dirty="0">
                <a:solidFill>
                  <a:srgbClr val="132E57"/>
                </a:solidFill>
                <a:effectLst/>
                <a:latin typeface="Open Sans" panose="020B0606030504020204" pitchFamily="34" charset="0"/>
              </a:rPr>
              <a:t>Data is the raw material of insurance – and therefore an asset</a:t>
            </a:r>
          </a:p>
          <a:p>
            <a:pPr marL="685800" marR="0" lvl="0" indent="0" algn="l" defTabSz="914400" rtl="0" eaLnBrk="1" fontAlgn="auto" latinLnBrk="0" hangingPunct="1">
              <a:lnSpc>
                <a:spcPct val="100000"/>
              </a:lnSpc>
              <a:spcBef>
                <a:spcPts val="0"/>
              </a:spcBef>
              <a:spcAft>
                <a:spcPts val="0"/>
              </a:spcAft>
              <a:buClrTx/>
              <a:buSzTx/>
              <a:buFontTx/>
              <a:buNone/>
              <a:tabLst/>
              <a:defRPr/>
            </a:pPr>
            <a:r>
              <a:rPr lang="en-US" sz="1100" b="1" dirty="0">
                <a:solidFill>
                  <a:srgbClr val="132E57"/>
                </a:solidFill>
                <a:effectLst/>
                <a:latin typeface="Open Sans" panose="020B0606030504020204" pitchFamily="34" charset="0"/>
              </a:rPr>
              <a:t>Key competitive advantage </a:t>
            </a:r>
          </a:p>
          <a:p>
            <a:pPr marL="685800"/>
            <a:endParaRPr lang="en-US" sz="1100" b="1" dirty="0">
              <a:solidFill>
                <a:srgbClr val="132E57"/>
              </a:solidFill>
              <a:effectLst/>
              <a:latin typeface="Open Sans" panose="020B0606030504020204" pitchFamily="34" charset="0"/>
            </a:endParaRPr>
          </a:p>
        </p:txBody>
      </p:sp>
      <p:sp>
        <p:nvSpPr>
          <p:cNvPr id="4" name="Slide Number Placeholder 3"/>
          <p:cNvSpPr>
            <a:spLocks noGrp="1"/>
          </p:cNvSpPr>
          <p:nvPr>
            <p:ph type="sldNum" sz="quarter" idx="5"/>
          </p:nvPr>
        </p:nvSpPr>
        <p:spPr/>
        <p:txBody>
          <a:bodyPr/>
          <a:lstStyle/>
          <a:p>
            <a:fld id="{C4144A30-19BA-4904-962C-35A99D503AE2}" type="slidenum">
              <a:rPr lang="en-US" smtClean="0"/>
              <a:t>3</a:t>
            </a:fld>
            <a:endParaRPr lang="en-US"/>
          </a:p>
        </p:txBody>
      </p:sp>
    </p:spTree>
    <p:extLst>
      <p:ext uri="{BB962C8B-B14F-4D97-AF65-F5344CB8AC3E}">
        <p14:creationId xmlns:p14="http://schemas.microsoft.com/office/powerpoint/2010/main" val="26911545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4144A30-19BA-4904-962C-35A99D503AE2}" type="slidenum">
              <a:rPr lang="en-US" smtClean="0"/>
              <a:t>4</a:t>
            </a:fld>
            <a:endParaRPr lang="en-US"/>
          </a:p>
        </p:txBody>
      </p:sp>
    </p:spTree>
    <p:extLst>
      <p:ext uri="{BB962C8B-B14F-4D97-AF65-F5344CB8AC3E}">
        <p14:creationId xmlns:p14="http://schemas.microsoft.com/office/powerpoint/2010/main" val="328592325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key to broadening the audience that gets value out of our data is ensuring that it is understood, tracked, optimized and controlled</a:t>
            </a:r>
          </a:p>
          <a:p>
            <a:pPr marL="171450" indent="-171450">
              <a:buFontTx/>
              <a:buChar char="-"/>
            </a:pPr>
            <a:r>
              <a:rPr lang="en-US" dirty="0"/>
              <a:t>What are the primary data sources for each business unit for operations and analytics?</a:t>
            </a:r>
          </a:p>
          <a:p>
            <a:pPr marL="171450" indent="-171450">
              <a:buFontTx/>
              <a:buChar char="-"/>
            </a:pPr>
            <a:r>
              <a:rPr lang="en-US" dirty="0"/>
              <a:t>What data is the most impactful and/or critical </a:t>
            </a:r>
          </a:p>
          <a:p>
            <a:pPr marL="171450" indent="-171450">
              <a:buFontTx/>
              <a:buChar char="-"/>
            </a:pPr>
            <a:r>
              <a:rPr lang="en-US" dirty="0"/>
              <a:t>Where do we have duplicates of data?  Of those versions, which has the best quality?</a:t>
            </a:r>
          </a:p>
          <a:p>
            <a:pPr marL="171450" indent="-171450">
              <a:buFontTx/>
              <a:buChar char="-"/>
            </a:pPr>
            <a:r>
              <a:rPr lang="en-US" dirty="0"/>
              <a:t>Do we understand our problem areas??  Missing Data, truncated data, erroneous data and unavailable data?</a:t>
            </a:r>
          </a:p>
          <a:p>
            <a:pPr marL="171450" indent="-171450">
              <a:buFontTx/>
              <a:buChar char="-"/>
            </a:pPr>
            <a:r>
              <a:rPr lang="en-US" dirty="0"/>
              <a:t>Do we have a consistent language to talk about our data across business lines and with newly acquired organizations?</a:t>
            </a:r>
          </a:p>
          <a:p>
            <a:pPr marL="0" indent="0">
              <a:buFontTx/>
              <a:buNone/>
            </a:pPr>
            <a:endParaRPr lang="en-US" dirty="0"/>
          </a:p>
          <a:p>
            <a:pPr marL="0" indent="0">
              <a:buFontTx/>
              <a:buNone/>
            </a:pPr>
            <a:r>
              <a:rPr lang="en-US" dirty="0"/>
              <a:t>If we were a manufacturer, rather than an insurance carrier, the raw materials for each our products would be tracked, managed and quality checked; these raw materials are assets that have a cost for acquiring, storing, moving and quality monitoring – data is our raw material and a key piece to the delivery of our products!</a:t>
            </a:r>
          </a:p>
        </p:txBody>
      </p:sp>
      <p:sp>
        <p:nvSpPr>
          <p:cNvPr id="4" name="Slide Number Placeholder 3"/>
          <p:cNvSpPr>
            <a:spLocks noGrp="1"/>
          </p:cNvSpPr>
          <p:nvPr>
            <p:ph type="sldNum" sz="quarter" idx="5"/>
          </p:nvPr>
        </p:nvSpPr>
        <p:spPr/>
        <p:txBody>
          <a:bodyPr/>
          <a:lstStyle/>
          <a:p>
            <a:fld id="{46D4ABAB-07D6-4859-A697-532FB5E9EE32}" type="slidenum">
              <a:rPr lang="en-US" smtClean="0"/>
              <a:t>5</a:t>
            </a:fld>
            <a:endParaRPr lang="en-US"/>
          </a:p>
        </p:txBody>
      </p:sp>
    </p:spTree>
    <p:extLst>
      <p:ext uri="{BB962C8B-B14F-4D97-AF65-F5344CB8AC3E}">
        <p14:creationId xmlns:p14="http://schemas.microsoft.com/office/powerpoint/2010/main" val="21908337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b="1" dirty="0"/>
              <a:t>We apply both offensive and defensive tactics to govern our data – a blended strategy</a:t>
            </a:r>
          </a:p>
          <a:p>
            <a:pPr marL="285750" indent="-285750">
              <a:buFont typeface="Arial" panose="020B0604020202020204" pitchFamily="34" charset="0"/>
              <a:buChar char="•"/>
            </a:pPr>
            <a:r>
              <a:rPr lang="en-US" b="1" dirty="0"/>
              <a:t>Embrace offensive tactics </a:t>
            </a:r>
            <a:r>
              <a:rPr lang="en-US" dirty="0"/>
              <a:t>– these tactics </a:t>
            </a:r>
            <a:r>
              <a:rPr lang="en-US" b="1" dirty="0"/>
              <a:t>drive data insights </a:t>
            </a:r>
            <a:r>
              <a:rPr lang="en-US" dirty="0"/>
              <a:t>and </a:t>
            </a:r>
            <a:r>
              <a:rPr lang="en-US" b="1" dirty="0"/>
              <a:t>improvements in our data processes</a:t>
            </a:r>
          </a:p>
          <a:p>
            <a:pPr marL="285750" indent="-285750">
              <a:buFont typeface="Arial" panose="020B0604020202020204" pitchFamily="34" charset="0"/>
              <a:buChar char="•"/>
            </a:pPr>
            <a:r>
              <a:rPr lang="en-US" dirty="0"/>
              <a:t>Use data as competitive asset - A </a:t>
            </a:r>
            <a:r>
              <a:rPr lang="en-US" b="1" dirty="0"/>
              <a:t>blended strategy puts community building and business experts at the forefront so they can demonstrate how to use data as a competitive asset</a:t>
            </a:r>
            <a:r>
              <a:rPr lang="en-US" dirty="0"/>
              <a:t>. These data evangelists focus on improving the organization’s effectiveness, optimizing operations, and driving business outcomes — all by using data intelligently</a:t>
            </a:r>
          </a:p>
          <a:p>
            <a:pPr marL="285750" indent="-285750">
              <a:buFont typeface="Arial" panose="020B0604020202020204" pitchFamily="34" charset="0"/>
              <a:buChar char="•"/>
            </a:pPr>
            <a:r>
              <a:rPr lang="en-US" dirty="0"/>
              <a:t>Data Intelligence and Governance (DIG) - combines data visibility with data control. This wider perspective enlightens data users by consolidating the offensive information around </a:t>
            </a:r>
            <a:r>
              <a:rPr lang="en-US" i="1" dirty="0"/>
              <a:t>what data is available and where the data comes from</a:t>
            </a:r>
            <a:r>
              <a:rPr lang="en-US" dirty="0"/>
              <a:t>, while also </a:t>
            </a:r>
            <a:r>
              <a:rPr lang="en-US" i="1" dirty="0"/>
              <a:t>enabling defensive guardrails </a:t>
            </a:r>
            <a:r>
              <a:rPr lang="en-US" dirty="0"/>
              <a:t>to be placed easily around the data for control and governance. </a:t>
            </a:r>
          </a:p>
          <a:p>
            <a:pPr marL="285750" indent="-285750">
              <a:buFont typeface="Arial" panose="020B0604020202020204" pitchFamily="34" charset="0"/>
              <a:buChar char="•"/>
            </a:pPr>
            <a:r>
              <a:rPr lang="en-US" dirty="0"/>
              <a:t>The </a:t>
            </a:r>
            <a:r>
              <a:rPr lang="en-US" b="1" i="1" dirty="0"/>
              <a:t>focus of governance changes from locking the data away to enforcing accountability </a:t>
            </a:r>
            <a:r>
              <a:rPr lang="en-US" b="1" dirty="0"/>
              <a:t>while guiding people toward trusted data and the appropriate, compliant behaviors for using i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Many of the tasks associated with Data Governance aren’t “new” to projects </a:t>
            </a:r>
            <a:r>
              <a:rPr lang="en-US" b="1" dirty="0"/>
              <a:t>– typical DG frameworks reinforce the necessity to complete these tasks as evidence </a:t>
            </a:r>
            <a:r>
              <a:rPr lang="en-US" dirty="0"/>
              <a:t>of managing data like an asset</a:t>
            </a:r>
          </a:p>
          <a:p>
            <a:endParaRPr lang="en-US" dirty="0"/>
          </a:p>
        </p:txBody>
      </p:sp>
      <p:sp>
        <p:nvSpPr>
          <p:cNvPr id="4" name="Slide Number Placeholder 3"/>
          <p:cNvSpPr>
            <a:spLocks noGrp="1"/>
          </p:cNvSpPr>
          <p:nvPr>
            <p:ph type="sldNum" sz="quarter" idx="5"/>
          </p:nvPr>
        </p:nvSpPr>
        <p:spPr/>
        <p:txBody>
          <a:bodyPr/>
          <a:lstStyle/>
          <a:p>
            <a:fld id="{C4144A30-19BA-4904-962C-35A99D503AE2}" type="slidenum">
              <a:rPr lang="en-US" smtClean="0"/>
              <a:t>7</a:t>
            </a:fld>
            <a:endParaRPr lang="en-US"/>
          </a:p>
        </p:txBody>
      </p:sp>
    </p:spTree>
    <p:extLst>
      <p:ext uri="{BB962C8B-B14F-4D97-AF65-F5344CB8AC3E}">
        <p14:creationId xmlns:p14="http://schemas.microsoft.com/office/powerpoint/2010/main" val="167502802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0" dirty="0">
                <a:solidFill>
                  <a:srgbClr val="171717"/>
                </a:solidFill>
                <a:effectLst/>
                <a:latin typeface="Gilroy"/>
              </a:rPr>
              <a:t>Enables true data democratization</a:t>
            </a:r>
          </a:p>
          <a:p>
            <a:pPr marL="285750" indent="-285750">
              <a:buFont typeface="Arial" panose="020B0604020202020204" pitchFamily="34" charset="0"/>
              <a:buChar char="•"/>
            </a:pPr>
            <a:r>
              <a:rPr lang="en-US" b="0" i="0" dirty="0">
                <a:solidFill>
                  <a:srgbClr val="3E4C59"/>
                </a:solidFill>
                <a:effectLst/>
                <a:latin typeface="Avenir"/>
              </a:rPr>
              <a:t>With the right </a:t>
            </a:r>
            <a:r>
              <a:rPr lang="en-US" b="0" i="0" u="sng" dirty="0">
                <a:solidFill>
                  <a:srgbClr val="2026D2"/>
                </a:solidFill>
                <a:effectLst/>
                <a:latin typeface="Avenir"/>
                <a:hlinkClick r:id="rId3"/>
              </a:rPr>
              <a:t>modern data governance platforms</a:t>
            </a:r>
            <a:r>
              <a:rPr lang="en-US" b="0" i="0" dirty="0">
                <a:solidFill>
                  <a:srgbClr val="3E4C59"/>
                </a:solidFill>
                <a:effectLst/>
                <a:latin typeface="Avenir"/>
              </a:rPr>
              <a:t>, you can create granular and customized tag-based access policies. Examples of tags include business-related metadata, technical metadata, or even security classifications. Such a system also ensures being transparent about how decisions are taken regarding which team member has access to certain data and who doesn’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i="0" dirty="0">
                <a:solidFill>
                  <a:srgbClr val="171717"/>
                </a:solidFill>
                <a:effectLst/>
                <a:latin typeface="Gilroy"/>
              </a:rPr>
              <a:t>Builds effective collaboration between teams</a:t>
            </a:r>
            <a:endParaRPr lang="en-US" b="0" i="0" dirty="0">
              <a:solidFill>
                <a:srgbClr val="3E4C59"/>
              </a:solidFill>
              <a:effectLst/>
              <a:latin typeface="Avenir"/>
            </a:endParaRPr>
          </a:p>
          <a:p>
            <a:pPr marL="285750" indent="-285750">
              <a:buFont typeface="Arial" panose="020B0604020202020204" pitchFamily="34" charset="0"/>
              <a:buChar char="•"/>
            </a:pPr>
            <a:r>
              <a:rPr lang="en-US" b="0" i="0" dirty="0">
                <a:solidFill>
                  <a:srgbClr val="3E4C59"/>
                </a:solidFill>
                <a:effectLst/>
                <a:latin typeface="Avenir"/>
              </a:rPr>
              <a:t>Having a clear understanding of who should have access to data and who shouldn't, also reduces the friction between diverse data practitioners existing in the same or different teams. For e.g. A person looking at a restricted data asset knows who owns it, and can quickly request access with the click of a button. Also, if a particular data is publicly discoverable, no matter if it's in a different domain, a data user doesn't need to wait for days for IT to give them access to that data or for domain experts to relay what that data actually means.</a:t>
            </a:r>
            <a:endParaRPr lang="en-US" dirty="0"/>
          </a:p>
          <a:p>
            <a:pPr algn="l"/>
            <a:r>
              <a:rPr lang="en-US" b="1" i="0" dirty="0">
                <a:solidFill>
                  <a:srgbClr val="171717"/>
                </a:solidFill>
                <a:effectLst/>
                <a:latin typeface="Gilroy"/>
              </a:rPr>
              <a:t>Protects the integrity and relevance of data</a:t>
            </a:r>
          </a:p>
          <a:p>
            <a:pPr algn="l"/>
            <a:r>
              <a:rPr lang="en-US" b="0" i="0" dirty="0">
                <a:solidFill>
                  <a:srgbClr val="3E4C59"/>
                </a:solidFill>
                <a:effectLst/>
                <a:latin typeface="Avenir"/>
              </a:rPr>
              <a:t>Data governance ensures that by employing the following:</a:t>
            </a:r>
          </a:p>
          <a:p>
            <a:pPr algn="l">
              <a:buFont typeface="Arial" panose="020B0604020202020204" pitchFamily="34" charset="0"/>
              <a:buChar char="•"/>
            </a:pPr>
            <a:r>
              <a:rPr lang="en-US" b="0" i="0" dirty="0">
                <a:solidFill>
                  <a:srgbClr val="3E4C59"/>
                </a:solidFill>
                <a:effectLst/>
                <a:latin typeface="Avenir"/>
              </a:rPr>
              <a:t>Tracking and managing of all data in an organization with help of </a:t>
            </a:r>
            <a:r>
              <a:rPr lang="en-US" b="0" i="0" u="sng" dirty="0">
                <a:solidFill>
                  <a:srgbClr val="2026D2"/>
                </a:solidFill>
                <a:effectLst/>
                <a:latin typeface="Avenir"/>
                <a:hlinkClick r:id="rId4"/>
              </a:rPr>
              <a:t>data catalogs.</a:t>
            </a:r>
            <a:endParaRPr lang="en-US" b="0" i="0" dirty="0">
              <a:solidFill>
                <a:srgbClr val="3E4C59"/>
              </a:solidFill>
              <a:effectLst/>
              <a:latin typeface="Avenir"/>
            </a:endParaRPr>
          </a:p>
          <a:p>
            <a:pPr algn="l">
              <a:buFont typeface="Arial" panose="020B0604020202020204" pitchFamily="34" charset="0"/>
              <a:buChar char="•"/>
            </a:pPr>
            <a:r>
              <a:rPr lang="en-US" b="0" i="0" dirty="0">
                <a:solidFill>
                  <a:srgbClr val="3E4C59"/>
                </a:solidFill>
                <a:effectLst/>
                <a:latin typeface="Avenir"/>
              </a:rPr>
              <a:t>Creating </a:t>
            </a:r>
            <a:r>
              <a:rPr lang="en-US" b="0" i="0" u="sng" dirty="0">
                <a:solidFill>
                  <a:srgbClr val="2026D2"/>
                </a:solidFill>
                <a:effectLst/>
                <a:latin typeface="Avenir"/>
                <a:hlinkClick r:id="rId5"/>
              </a:rPr>
              <a:t>business glossaries</a:t>
            </a:r>
            <a:r>
              <a:rPr lang="en-US" b="0" i="0" dirty="0">
                <a:solidFill>
                  <a:srgbClr val="3E4C59"/>
                </a:solidFill>
                <a:effectLst/>
                <a:latin typeface="Avenir"/>
              </a:rPr>
              <a:t> for ease of understanding of this data.</a:t>
            </a:r>
          </a:p>
          <a:p>
            <a:pPr algn="l">
              <a:buFont typeface="Arial" panose="020B0604020202020204" pitchFamily="34" charset="0"/>
              <a:buChar char="•"/>
            </a:pPr>
            <a:r>
              <a:rPr lang="en-US" b="0" i="0" dirty="0">
                <a:solidFill>
                  <a:srgbClr val="3E4C59"/>
                </a:solidFill>
                <a:effectLst/>
                <a:latin typeface="Avenir"/>
              </a:rPr>
              <a:t>Setting up </a:t>
            </a:r>
            <a:r>
              <a:rPr lang="en-US" b="0" i="0" u="sng" dirty="0">
                <a:solidFill>
                  <a:srgbClr val="2026D2"/>
                </a:solidFill>
                <a:effectLst/>
                <a:latin typeface="Avenir"/>
                <a:hlinkClick r:id="rId6"/>
              </a:rPr>
              <a:t>data lineage</a:t>
            </a:r>
            <a:r>
              <a:rPr lang="en-US" b="0" i="0" dirty="0">
                <a:solidFill>
                  <a:srgbClr val="3E4C59"/>
                </a:solidFill>
                <a:effectLst/>
                <a:latin typeface="Avenir"/>
              </a:rPr>
              <a:t> to enable root-cause analysis and impact analysis.</a:t>
            </a:r>
          </a:p>
          <a:p>
            <a:pPr algn="l">
              <a:buFont typeface="Arial" panose="020B0604020202020204" pitchFamily="34" charset="0"/>
              <a:buChar char="•"/>
            </a:pPr>
            <a:r>
              <a:rPr lang="en-US" b="0" i="0" u="sng" dirty="0">
                <a:solidFill>
                  <a:srgbClr val="2026D2"/>
                </a:solidFill>
                <a:effectLst/>
                <a:latin typeface="Avenir"/>
                <a:hlinkClick r:id="rId3"/>
              </a:rPr>
              <a:t>Management of data access</a:t>
            </a:r>
            <a:r>
              <a:rPr lang="en-US" b="0" i="0" dirty="0">
                <a:solidFill>
                  <a:srgbClr val="3E4C59"/>
                </a:solidFill>
                <a:effectLst/>
                <a:latin typeface="Avenir"/>
              </a:rPr>
              <a:t> via established and communicated policies.</a:t>
            </a:r>
          </a:p>
          <a:p>
            <a:pPr algn="l"/>
            <a:r>
              <a:rPr lang="en-US" b="1" i="0" dirty="0">
                <a:solidFill>
                  <a:srgbClr val="171717"/>
                </a:solidFill>
                <a:effectLst/>
                <a:latin typeface="Gilroy"/>
              </a:rPr>
              <a:t>Helps comply with data protection laws and regulations</a:t>
            </a:r>
          </a:p>
          <a:p>
            <a:pPr algn="l"/>
            <a:r>
              <a:rPr lang="en-US" b="0" i="0" dirty="0">
                <a:solidFill>
                  <a:srgbClr val="3E4C59"/>
                </a:solidFill>
                <a:effectLst/>
                <a:latin typeface="Avenir"/>
              </a:rPr>
              <a:t>Last but not the least, the reason why most organizations start thinking about data governance - is to comply with data protection laws and regulations. Even a minor infringement of </a:t>
            </a:r>
            <a:r>
              <a:rPr lang="en-US" b="0" i="0" u="sng" dirty="0">
                <a:solidFill>
                  <a:srgbClr val="2026D2"/>
                </a:solidFill>
                <a:effectLst/>
                <a:latin typeface="Avenir"/>
                <a:hlinkClick r:id="rId7"/>
              </a:rPr>
              <a:t>GDPR</a:t>
            </a:r>
            <a:r>
              <a:rPr lang="en-US" b="0" i="0" dirty="0">
                <a:solidFill>
                  <a:srgbClr val="3E4C59"/>
                </a:solidFill>
                <a:effectLst/>
                <a:latin typeface="Avenir"/>
              </a:rPr>
              <a:t> or </a:t>
            </a:r>
            <a:r>
              <a:rPr lang="en-US" b="0" i="0" u="sng" dirty="0">
                <a:solidFill>
                  <a:srgbClr val="2026D2"/>
                </a:solidFill>
                <a:effectLst/>
                <a:latin typeface="Avenir"/>
                <a:hlinkClick r:id="rId8"/>
              </a:rPr>
              <a:t>CCPA</a:t>
            </a:r>
            <a:r>
              <a:rPr lang="en-US" b="0" i="0" dirty="0">
                <a:solidFill>
                  <a:srgbClr val="3E4C59"/>
                </a:solidFill>
                <a:effectLst/>
                <a:latin typeface="Avenir"/>
              </a:rPr>
              <a:t> regulations can cost an organization a fortune. Good data governance tools and processes ensure automated compliance with such regulations and laws. They create universal guidance for the structured creation, storage, and deletion of data.</a:t>
            </a:r>
          </a:p>
          <a:p>
            <a:endParaRPr lang="en-US" dirty="0"/>
          </a:p>
        </p:txBody>
      </p:sp>
      <p:sp>
        <p:nvSpPr>
          <p:cNvPr id="4" name="Slide Number Placeholder 3"/>
          <p:cNvSpPr>
            <a:spLocks noGrp="1"/>
          </p:cNvSpPr>
          <p:nvPr>
            <p:ph type="sldNum" sz="quarter" idx="5"/>
          </p:nvPr>
        </p:nvSpPr>
        <p:spPr/>
        <p:txBody>
          <a:bodyPr/>
          <a:lstStyle/>
          <a:p>
            <a:fld id="{1F95EDBA-70FD-3442-8739-8E5C540C2613}" type="slidenum">
              <a:rPr lang="en-US" smtClean="0"/>
              <a:pPr/>
              <a:t>8</a:t>
            </a:fld>
            <a:endParaRPr lang="en-US"/>
          </a:p>
        </p:txBody>
      </p:sp>
    </p:spTree>
    <p:extLst>
      <p:ext uri="{BB962C8B-B14F-4D97-AF65-F5344CB8AC3E}">
        <p14:creationId xmlns:p14="http://schemas.microsoft.com/office/powerpoint/2010/main" val="159554321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ile the DGO and DPO drive what must be done from a governance and privacy perspective, it is the business units and their respective DG practitioners that fund and execute against these efforts.</a:t>
            </a:r>
          </a:p>
          <a:p>
            <a:r>
              <a:rPr lang="en-US" dirty="0"/>
              <a:t>DGO/DPO align standards, guidelines and controls to compliance laws and best practices</a:t>
            </a:r>
          </a:p>
          <a:p>
            <a:endParaRPr lang="en-US" dirty="0"/>
          </a:p>
          <a:p>
            <a:r>
              <a:rPr lang="en-US" dirty="0"/>
              <a:t>The DGAP team provides capabilities to enable governance and </a:t>
            </a:r>
          </a:p>
        </p:txBody>
      </p:sp>
      <p:sp>
        <p:nvSpPr>
          <p:cNvPr id="4" name="Slide Number Placeholder 3"/>
          <p:cNvSpPr>
            <a:spLocks noGrp="1"/>
          </p:cNvSpPr>
          <p:nvPr>
            <p:ph type="sldNum" sz="quarter" idx="5"/>
          </p:nvPr>
        </p:nvSpPr>
        <p:spPr/>
        <p:txBody>
          <a:bodyPr/>
          <a:lstStyle/>
          <a:p>
            <a:fld id="{C4144A30-19BA-4904-962C-35A99D503AE2}" type="slidenum">
              <a:rPr lang="en-US" smtClean="0"/>
              <a:t>9</a:t>
            </a:fld>
            <a:endParaRPr lang="en-US"/>
          </a:p>
        </p:txBody>
      </p:sp>
    </p:spTree>
    <p:extLst>
      <p:ext uri="{BB962C8B-B14F-4D97-AF65-F5344CB8AC3E}">
        <p14:creationId xmlns:p14="http://schemas.microsoft.com/office/powerpoint/2010/main" val="26765871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ase requirements ensure these fundamental data governance activities occur as part of a project</a:t>
            </a:r>
          </a:p>
          <a:p>
            <a:r>
              <a:rPr lang="en-US" dirty="0"/>
              <a:t>- DG stakeholders identified to participate, Sensitive data is identified and protected, appropriate approvers of entitlements are identified for new data, Data is made accessible to the primary roles who need to leverage it and it is documented to ensure appropriate and consistent usage and understanding, as well as some other technical requirements.</a:t>
            </a:r>
          </a:p>
          <a:p>
            <a:endParaRPr lang="en-US" dirty="0"/>
          </a:p>
          <a:p>
            <a:r>
              <a:rPr lang="en-US" dirty="0"/>
              <a:t>Beyond projects, however, data governance activities include other things such as data quality monitoring, retention, and </a:t>
            </a:r>
          </a:p>
        </p:txBody>
      </p:sp>
      <p:sp>
        <p:nvSpPr>
          <p:cNvPr id="4" name="Slide Number Placeholder 3"/>
          <p:cNvSpPr>
            <a:spLocks noGrp="1"/>
          </p:cNvSpPr>
          <p:nvPr>
            <p:ph type="sldNum" sz="quarter" idx="5"/>
          </p:nvPr>
        </p:nvSpPr>
        <p:spPr/>
        <p:txBody>
          <a:bodyPr/>
          <a:lstStyle/>
          <a:p>
            <a:fld id="{5FA658AE-29CB-42AB-AD47-39B258417791}" type="slidenum">
              <a:rPr lang="en-US" smtClean="0"/>
              <a:t>12</a:t>
            </a:fld>
            <a:endParaRPr lang="en-US"/>
          </a:p>
        </p:txBody>
      </p:sp>
    </p:spTree>
    <p:extLst>
      <p:ext uri="{BB962C8B-B14F-4D97-AF65-F5344CB8AC3E}">
        <p14:creationId xmlns:p14="http://schemas.microsoft.com/office/powerpoint/2010/main" val="238444054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ata engagement activities should be aligned with and interwoven with SDLC and agile development methodologies.  </a:t>
            </a:r>
          </a:p>
          <a:p>
            <a:r>
              <a:rPr lang="en-US" dirty="0"/>
              <a:t>In many cases, they simply identify work that is already occurring, ensuring it is not overlooked.</a:t>
            </a:r>
          </a:p>
        </p:txBody>
      </p:sp>
      <p:sp>
        <p:nvSpPr>
          <p:cNvPr id="4" name="Slide Number Placeholder 3"/>
          <p:cNvSpPr>
            <a:spLocks noGrp="1"/>
          </p:cNvSpPr>
          <p:nvPr>
            <p:ph type="sldNum" sz="quarter" idx="5"/>
          </p:nvPr>
        </p:nvSpPr>
        <p:spPr/>
        <p:txBody>
          <a:bodyPr/>
          <a:lstStyle/>
          <a:p>
            <a:fld id="{5FA658AE-29CB-42AB-AD47-39B258417791}" type="slidenum">
              <a:rPr lang="en-US" smtClean="0"/>
              <a:t>13</a:t>
            </a:fld>
            <a:endParaRPr lang="en-US"/>
          </a:p>
        </p:txBody>
      </p:sp>
    </p:spTree>
    <p:extLst>
      <p:ext uri="{BB962C8B-B14F-4D97-AF65-F5344CB8AC3E}">
        <p14:creationId xmlns:p14="http://schemas.microsoft.com/office/powerpoint/2010/main" val="18842904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8.jpeg"/><Relationship Id="rId3" Type="http://schemas.openxmlformats.org/officeDocument/2006/relationships/tags" Target="../tags/tag3.xml"/><Relationship Id="rId7" Type="http://schemas.openxmlformats.org/officeDocument/2006/relationships/image" Target="../media/image7.emf"/><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6.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01">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BDE19B3-822A-5314-2822-F695BC77A962}"/>
              </a:ext>
            </a:extLst>
          </p:cNvPr>
          <p:cNvPicPr>
            <a:picLocks noChangeAspect="1"/>
          </p:cNvPicPr>
          <p:nvPr/>
        </p:nvPicPr>
        <p:blipFill>
          <a:blip r:embed="rId2"/>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4E4C80B-FE3B-111B-89D6-619FA4498FF1}"/>
              </a:ext>
            </a:extLst>
          </p:cNvPr>
          <p:cNvSpPr>
            <a:spLocks noGrp="1"/>
          </p:cNvSpPr>
          <p:nvPr>
            <p:ph type="ctrTitle"/>
          </p:nvPr>
        </p:nvSpPr>
        <p:spPr>
          <a:xfrm>
            <a:off x="4274923" y="923583"/>
            <a:ext cx="6792859" cy="2387600"/>
          </a:xfrm>
          <a:prstGeom prst="rect">
            <a:avLst/>
          </a:prstGeom>
        </p:spPr>
        <p:txBody>
          <a:bodyPr anchor="b">
            <a:normAutofit/>
          </a:bodyPr>
          <a:lstStyle>
            <a:lvl1pPr algn="ctr">
              <a:defRPr sz="4000">
                <a:solidFill>
                  <a:srgbClr val="0A3360"/>
                </a:solidFill>
              </a:defRPr>
            </a:lvl1pPr>
          </a:lstStyle>
          <a:p>
            <a:r>
              <a:rPr lang="en-US"/>
              <a:t>Click to edit Master title style</a:t>
            </a:r>
          </a:p>
        </p:txBody>
      </p:sp>
      <p:sp>
        <p:nvSpPr>
          <p:cNvPr id="3" name="Subtitle 2">
            <a:extLst>
              <a:ext uri="{FF2B5EF4-FFF2-40B4-BE49-F238E27FC236}">
                <a16:creationId xmlns:a16="http://schemas.microsoft.com/office/drawing/2014/main" id="{A992EA26-E9A3-4A88-D8BF-6ED83A4365C1}"/>
              </a:ext>
            </a:extLst>
          </p:cNvPr>
          <p:cNvSpPr>
            <a:spLocks noGrp="1"/>
          </p:cNvSpPr>
          <p:nvPr>
            <p:ph type="subTitle" idx="1"/>
          </p:nvPr>
        </p:nvSpPr>
        <p:spPr>
          <a:xfrm>
            <a:off x="4274923" y="3403258"/>
            <a:ext cx="6792859" cy="1655762"/>
          </a:xfrm>
          <a:prstGeom prst="rect">
            <a:avLst/>
          </a:prstGeom>
        </p:spPr>
        <p:txBody>
          <a:bodyPr/>
          <a:lstStyle>
            <a:lvl1pPr marL="0" indent="0" algn="ctr">
              <a:buNone/>
              <a:defRPr sz="2400">
                <a:solidFill>
                  <a:srgbClr val="0A336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57781538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1_Media">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468BAE26-C488-8D9F-142E-284B121FBEF0}"/>
              </a:ext>
            </a:extLst>
          </p:cNvPr>
          <p:cNvPicPr>
            <a:picLocks noChangeAspect="1"/>
          </p:cNvPicPr>
          <p:nvPr/>
        </p:nvPicPr>
        <p:blipFill>
          <a:blip r:embed="rId2"/>
          <a:srcRect/>
          <a:stretch/>
        </p:blipFill>
        <p:spPr>
          <a:xfrm>
            <a:off x="0" y="0"/>
            <a:ext cx="12192000" cy="6858000"/>
          </a:xfrm>
          <a:prstGeom prst="rect">
            <a:avLst/>
          </a:prstGeom>
        </p:spPr>
      </p:pic>
      <p:sp>
        <p:nvSpPr>
          <p:cNvPr id="8" name="Title 1">
            <a:extLst>
              <a:ext uri="{FF2B5EF4-FFF2-40B4-BE49-F238E27FC236}">
                <a16:creationId xmlns:a16="http://schemas.microsoft.com/office/drawing/2014/main" id="{4F48A276-91BF-372A-F880-A1BBA681B22F}"/>
              </a:ext>
            </a:extLst>
          </p:cNvPr>
          <p:cNvSpPr>
            <a:spLocks noGrp="1"/>
          </p:cNvSpPr>
          <p:nvPr>
            <p:ph type="title"/>
          </p:nvPr>
        </p:nvSpPr>
        <p:spPr>
          <a:xfrm>
            <a:off x="554182" y="167664"/>
            <a:ext cx="11083636" cy="549257"/>
          </a:xfrm>
          <a:prstGeom prst="rect">
            <a:avLst/>
          </a:prstGeom>
        </p:spPr>
        <p:txBody>
          <a:bodyPr anchor="ctr"/>
          <a:lstStyle>
            <a:lvl1pPr>
              <a:defRPr sz="2800"/>
            </a:lvl1pPr>
          </a:lstStyle>
          <a:p>
            <a:r>
              <a:rPr lang="en-US"/>
              <a:t>Click to edit Master title style</a:t>
            </a:r>
          </a:p>
        </p:txBody>
      </p:sp>
    </p:spTree>
    <p:extLst>
      <p:ext uri="{BB962C8B-B14F-4D97-AF65-F5344CB8AC3E}">
        <p14:creationId xmlns:p14="http://schemas.microsoft.com/office/powerpoint/2010/main" val="34008600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1_Transitio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F2CCA3C-9B4A-C942-D532-A9CE54FC3965}"/>
              </a:ext>
            </a:extLst>
          </p:cNvPr>
          <p:cNvPicPr>
            <a:picLocks noChangeAspect="1"/>
          </p:cNvPicPr>
          <p:nvPr/>
        </p:nvPicPr>
        <p:blipFill>
          <a:blip r:embed="rId2"/>
          <a:srcRect/>
          <a:stretch/>
        </p:blipFill>
        <p:spPr>
          <a:xfrm>
            <a:off x="0" y="0"/>
            <a:ext cx="12192000" cy="6858000"/>
          </a:xfrm>
          <a:prstGeom prst="rect">
            <a:avLst/>
          </a:prstGeom>
        </p:spPr>
      </p:pic>
    </p:spTree>
    <p:extLst>
      <p:ext uri="{BB962C8B-B14F-4D97-AF65-F5344CB8AC3E}">
        <p14:creationId xmlns:p14="http://schemas.microsoft.com/office/powerpoint/2010/main" val="110528742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D345D56-3FFC-46F5-B3F0-E8C7F2716787}"/>
              </a:ext>
            </a:extLst>
          </p:cNvPr>
          <p:cNvGraphicFramePr>
            <a:graphicFrameLocks noChangeAspect="1"/>
          </p:cNvGraphicFramePr>
          <p:nvPr userDrawn="1">
            <p:custDataLst>
              <p:tags r:id="rId1"/>
            </p:custDataLst>
            <p:extLst>
              <p:ext uri="{D42A27DB-BD31-4B8C-83A1-F6EECF244321}">
                <p14:modId xmlns:p14="http://schemas.microsoft.com/office/powerpoint/2010/main" val="3619279782"/>
              </p:ext>
            </p:extLst>
          </p:nvPr>
        </p:nvGraphicFramePr>
        <p:xfrm>
          <a:off x="1620" y="1620"/>
          <a:ext cx="1620" cy="1620"/>
        </p:xfrm>
        <a:graphic>
          <a:graphicData uri="http://schemas.openxmlformats.org/presentationml/2006/ole">
            <mc:AlternateContent xmlns:mc="http://schemas.openxmlformats.org/markup-compatibility/2006">
              <mc:Choice xmlns:v="urn:schemas-microsoft-com:vml" Requires="v">
                <p:oleObj name="think-cell Slide" r:id="rId5" imgW="473" imgH="476" progId="TCLayout.ActiveDocument.1">
                  <p:embed/>
                </p:oleObj>
              </mc:Choice>
              <mc:Fallback>
                <p:oleObj name="think-cell Slide" r:id="rId5" imgW="473" imgH="476" progId="TCLayout.ActiveDocument.1">
                  <p:embed/>
                  <p:pic>
                    <p:nvPicPr>
                      <p:cNvPr id="4" name="Object 3" hidden="1">
                        <a:extLst>
                          <a:ext uri="{FF2B5EF4-FFF2-40B4-BE49-F238E27FC236}">
                            <a16:creationId xmlns:a16="http://schemas.microsoft.com/office/drawing/2014/main" id="{BD345D56-3FFC-46F5-B3F0-E8C7F2716787}"/>
                          </a:ext>
                        </a:extLst>
                      </p:cNvPr>
                      <p:cNvPicPr/>
                      <p:nvPr/>
                    </p:nvPicPr>
                    <p:blipFill>
                      <a:blip r:embed="rId6"/>
                      <a:stretch>
                        <a:fillRect/>
                      </a:stretch>
                    </p:blipFill>
                    <p:spPr>
                      <a:xfrm>
                        <a:off x="1620" y="1620"/>
                        <a:ext cx="1620" cy="1620"/>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F68E97E-E31F-469E-9161-33B2B9463813}"/>
              </a:ext>
            </a:extLst>
          </p:cNvPr>
          <p:cNvSpPr/>
          <p:nvPr userDrawn="1">
            <p:custDataLst>
              <p:tags r:id="rId2"/>
            </p:custDataLst>
          </p:nvPr>
        </p:nvSpPr>
        <p:spPr>
          <a:xfrm>
            <a:off x="0" y="0"/>
            <a:ext cx="161977" cy="161974"/>
          </a:xfrm>
          <a:prstGeom prst="rect">
            <a:avLst/>
          </a:prstGeom>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897" b="0" i="0" baseline="0" err="1">
              <a:solidFill>
                <a:schemeClr val="tx1"/>
              </a:solidFill>
              <a:latin typeface="Arial" panose="020B0604020202020204" pitchFamily="34" charset="0"/>
              <a:ea typeface="+mj-ea"/>
              <a:cs typeface="+mj-cs"/>
              <a:sym typeface="Arial" panose="020B0604020202020204" pitchFamily="34" charset="0"/>
            </a:endParaRPr>
          </a:p>
        </p:txBody>
      </p:sp>
      <p:sp>
        <p:nvSpPr>
          <p:cNvPr id="13314" name="Rectangle 1026"/>
          <p:cNvSpPr>
            <a:spLocks noGrp="1" noChangeArrowheads="1"/>
          </p:cNvSpPr>
          <p:nvPr>
            <p:ph type="ctrTitle"/>
          </p:nvPr>
        </p:nvSpPr>
        <p:spPr>
          <a:xfrm>
            <a:off x="933660" y="2176938"/>
            <a:ext cx="10120463" cy="753668"/>
          </a:xfrm>
          <a:prstGeom prst="rect">
            <a:avLst/>
          </a:prstGeom>
        </p:spPr>
        <p:txBody>
          <a:bodyPr/>
          <a:lstStyle>
            <a:lvl1pPr>
              <a:defRPr sz="4897" b="0">
                <a:solidFill>
                  <a:schemeClr val="bg1">
                    <a:lumMod val="50000"/>
                  </a:schemeClr>
                </a:solidFill>
                <a:latin typeface="+mj-lt"/>
              </a:defRPr>
            </a:lvl1pPr>
          </a:lstStyle>
          <a:p>
            <a:pPr lvl="0"/>
            <a:r>
              <a:rPr lang="en-US" noProof="0"/>
              <a:t>Click to edit Master title</a:t>
            </a:r>
          </a:p>
        </p:txBody>
      </p:sp>
      <p:sp>
        <p:nvSpPr>
          <p:cNvPr id="13315" name="Rectangle 1027"/>
          <p:cNvSpPr>
            <a:spLocks noGrp="1" noChangeArrowheads="1"/>
          </p:cNvSpPr>
          <p:nvPr>
            <p:ph type="subTitle" idx="1"/>
          </p:nvPr>
        </p:nvSpPr>
        <p:spPr>
          <a:xfrm>
            <a:off x="933660" y="2994516"/>
            <a:ext cx="5162340" cy="314028"/>
          </a:xfrm>
          <a:prstGeom prst="rect">
            <a:avLst/>
          </a:prstGeom>
        </p:spPr>
        <p:txBody>
          <a:bodyPr wrap="square">
            <a:spAutoFit/>
          </a:bodyPr>
          <a:lstStyle>
            <a:lvl1pPr marL="0" indent="0">
              <a:buNone/>
              <a:defRPr sz="1428" i="1">
                <a:solidFill>
                  <a:schemeClr val="bg1">
                    <a:lumMod val="50000"/>
                  </a:schemeClr>
                </a:solidFill>
                <a:latin typeface="+mn-lt"/>
              </a:defRPr>
            </a:lvl1pPr>
          </a:lstStyle>
          <a:p>
            <a:pPr lvl="0"/>
            <a:r>
              <a:rPr lang="en-US" noProof="0"/>
              <a:t>Click to edit Master subtitle style</a:t>
            </a:r>
          </a:p>
        </p:txBody>
      </p:sp>
      <p:sp>
        <p:nvSpPr>
          <p:cNvPr id="13463" name="doc id"/>
          <p:cNvSpPr txBox="1">
            <a:spLocks noChangeArrowheads="1"/>
          </p:cNvSpPr>
          <p:nvPr/>
        </p:nvSpPr>
        <p:spPr bwMode="auto">
          <a:xfrm>
            <a:off x="11485751" y="37256"/>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a:endParaRPr lang="ru-RU" sz="816">
              <a:latin typeface="+mn-lt"/>
            </a:endParaRPr>
          </a:p>
        </p:txBody>
      </p:sp>
      <p:grpSp>
        <p:nvGrpSpPr>
          <p:cNvPr id="13513" name="McK Title Elements"/>
          <p:cNvGrpSpPr>
            <a:grpSpLocks/>
          </p:cNvGrpSpPr>
          <p:nvPr/>
        </p:nvGrpSpPr>
        <p:grpSpPr bwMode="auto">
          <a:xfrm>
            <a:off x="1" y="1"/>
            <a:ext cx="12187680" cy="6859620"/>
            <a:chOff x="0" y="0"/>
            <a:chExt cx="5643" cy="4235"/>
          </a:xfrm>
        </p:grpSpPr>
        <p:sp>
          <p:nvSpPr>
            <p:cNvPr id="13332" name="McK Document type" hidden="1"/>
            <p:cNvSpPr txBox="1">
              <a:spLocks noChangeArrowheads="1"/>
            </p:cNvSpPr>
            <p:nvPr userDrawn="1"/>
          </p:nvSpPr>
          <p:spPr bwMode="auto">
            <a:xfrm>
              <a:off x="1663" y="3104"/>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r>
                <a:rPr lang="en-US" sz="1428">
                  <a:latin typeface="+mn-lt"/>
                </a:rPr>
                <a:t>Document type</a:t>
              </a:r>
            </a:p>
          </p:txBody>
        </p:sp>
        <p:sp>
          <p:nvSpPr>
            <p:cNvPr id="13333" name="McK Date" hidden="1"/>
            <p:cNvSpPr txBox="1">
              <a:spLocks noChangeArrowheads="1"/>
            </p:cNvSpPr>
            <p:nvPr userDrawn="1"/>
          </p:nvSpPr>
          <p:spPr bwMode="auto">
            <a:xfrm>
              <a:off x="1663" y="3275"/>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r>
                <a:rPr lang="en-US" sz="1428">
                  <a:latin typeface="+mn-lt"/>
                </a:rPr>
                <a:t>Date</a:t>
              </a:r>
            </a:p>
          </p:txBody>
        </p:sp>
        <p:sp>
          <p:nvSpPr>
            <p:cNvPr id="13352" name="McK Disclaimer" hidden="1"/>
            <p:cNvSpPr>
              <a:spLocks noChangeArrowheads="1"/>
            </p:cNvSpPr>
            <p:nvPr userDrawn="1"/>
          </p:nvSpPr>
          <p:spPr bwMode="auto">
            <a:xfrm>
              <a:off x="1663" y="3710"/>
              <a:ext cx="2777" cy="1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defTabSz="804863">
                <a:defRPr sz="2400">
                  <a:solidFill>
                    <a:schemeClr val="tx1"/>
                  </a:solidFill>
                  <a:latin typeface="Arial" charset="0"/>
                </a:defRPr>
              </a:lvl1pPr>
              <a:lvl2pPr marL="401638" defTabSz="804863">
                <a:defRPr sz="2400">
                  <a:solidFill>
                    <a:schemeClr val="tx1"/>
                  </a:solidFill>
                  <a:latin typeface="Arial" charset="0"/>
                </a:defRPr>
              </a:lvl2pPr>
              <a:lvl3pPr marL="804863" defTabSz="804863">
                <a:defRPr sz="2400">
                  <a:solidFill>
                    <a:schemeClr val="tx1"/>
                  </a:solidFill>
                  <a:latin typeface="Arial" charset="0"/>
                </a:defRPr>
              </a:lvl3pPr>
              <a:lvl4pPr marL="1206500" defTabSz="804863">
                <a:defRPr sz="2400">
                  <a:solidFill>
                    <a:schemeClr val="tx1"/>
                  </a:solidFill>
                  <a:latin typeface="Arial" charset="0"/>
                </a:defRPr>
              </a:lvl4pPr>
              <a:lvl5pPr marL="1608138" defTabSz="804863">
                <a:defRPr sz="2400">
                  <a:solidFill>
                    <a:schemeClr val="tx1"/>
                  </a:solidFill>
                  <a:latin typeface="Arial" charset="0"/>
                </a:defRPr>
              </a:lvl5pPr>
              <a:lvl6pPr marL="2065338" defTabSz="804863" fontAlgn="base">
                <a:spcBef>
                  <a:spcPct val="0"/>
                </a:spcBef>
                <a:spcAft>
                  <a:spcPct val="0"/>
                </a:spcAft>
                <a:defRPr sz="2400">
                  <a:solidFill>
                    <a:schemeClr val="tx1"/>
                  </a:solidFill>
                  <a:latin typeface="Arial" charset="0"/>
                </a:defRPr>
              </a:lvl6pPr>
              <a:lvl7pPr marL="2522538" defTabSz="804863" fontAlgn="base">
                <a:spcBef>
                  <a:spcPct val="0"/>
                </a:spcBef>
                <a:spcAft>
                  <a:spcPct val="0"/>
                </a:spcAft>
                <a:defRPr sz="2400">
                  <a:solidFill>
                    <a:schemeClr val="tx1"/>
                  </a:solidFill>
                  <a:latin typeface="Arial" charset="0"/>
                </a:defRPr>
              </a:lvl7pPr>
              <a:lvl8pPr marL="2979738" defTabSz="804863" fontAlgn="base">
                <a:spcBef>
                  <a:spcPct val="0"/>
                </a:spcBef>
                <a:spcAft>
                  <a:spcPct val="0"/>
                </a:spcAft>
                <a:defRPr sz="2400">
                  <a:solidFill>
                    <a:schemeClr val="tx1"/>
                  </a:solidFill>
                  <a:latin typeface="Arial" charset="0"/>
                </a:defRPr>
              </a:lvl8pPr>
              <a:lvl9pPr marL="3436938" defTabSz="804863" fontAlgn="base">
                <a:spcBef>
                  <a:spcPct val="0"/>
                </a:spcBef>
                <a:spcAft>
                  <a:spcPct val="0"/>
                </a:spcAft>
                <a:defRPr sz="2400">
                  <a:solidFill>
                    <a:schemeClr val="tx1"/>
                  </a:solidFill>
                  <a:latin typeface="Arial" charset="0"/>
                </a:defRPr>
              </a:lvl9pPr>
            </a:lstStyle>
            <a:p>
              <a:pPr eaLnBrk="0" hangingPunct="0"/>
              <a:r>
                <a:rPr lang="en-US" sz="816">
                  <a:latin typeface="+mn-lt"/>
                </a:rPr>
                <a:t>CONFIDENTIAL AND PROPRIETARY</a:t>
              </a:r>
            </a:p>
            <a:p>
              <a:pPr eaLnBrk="0" hangingPunct="0"/>
              <a:r>
                <a:rPr lang="en-US" sz="816">
                  <a:latin typeface="+mn-lt"/>
                </a:rPr>
                <a:t>Any use of this material without specific permission of McKinsey &amp; Company is strictly prohibited</a:t>
              </a:r>
            </a:p>
          </p:txBody>
        </p:sp>
        <p:sp>
          <p:nvSpPr>
            <p:cNvPr id="13474" name="TitleBottomPlaceholder" hidden="1"/>
            <p:cNvSpPr>
              <a:spLocks noChangeArrowheads="1"/>
            </p:cNvSpPr>
            <p:nvPr userDrawn="1"/>
          </p:nvSpPr>
          <p:spPr bwMode="auto">
            <a:xfrm>
              <a:off x="0" y="1410"/>
              <a:ext cx="1382" cy="2825"/>
            </a:xfrm>
            <a:prstGeom prst="rect">
              <a:avLst/>
            </a:prstGeom>
            <a:solidFill>
              <a:srgbClr val="0065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a:latin typeface="+mn-lt"/>
              </a:endParaRPr>
            </a:p>
          </p:txBody>
        </p:sp>
        <p:sp>
          <p:nvSpPr>
            <p:cNvPr id="13475" name="TitleTopPlaceholder" hidden="1"/>
            <p:cNvSpPr>
              <a:spLocks noChangeArrowheads="1"/>
            </p:cNvSpPr>
            <p:nvPr userDrawn="1"/>
          </p:nvSpPr>
          <p:spPr bwMode="auto">
            <a:xfrm>
              <a:off x="0" y="0"/>
              <a:ext cx="1382" cy="1410"/>
            </a:xfrm>
            <a:prstGeom prst="rect">
              <a:avLst/>
            </a:prstGeom>
            <a:solidFill>
              <a:srgbClr val="91A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a:latin typeface="+mn-lt"/>
              </a:endParaRPr>
            </a:p>
          </p:txBody>
        </p:sp>
        <p:sp>
          <p:nvSpPr>
            <p:cNvPr id="13477" name="Rectangle 1189" hidden="1"/>
            <p:cNvSpPr>
              <a:spLocks noChangeArrowheads="1"/>
            </p:cNvSpPr>
            <p:nvPr userDrawn="1"/>
          </p:nvSpPr>
          <p:spPr bwMode="auto">
            <a:xfrm>
              <a:off x="0" y="0"/>
              <a:ext cx="5643" cy="4234"/>
            </a:xfrm>
            <a:prstGeom prst="rect">
              <a:avLst/>
            </a:prstGeom>
            <a:noFill/>
            <a:ln w="317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a:latin typeface="+mn-lt"/>
              </a:endParaRPr>
            </a:p>
          </p:txBody>
        </p:sp>
      </p:grpSp>
      <p:pic>
        <p:nvPicPr>
          <p:cNvPr id="13507" name="TitleBottomBarBW" hidden="1"/>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9760080" y="6574546"/>
            <a:ext cx="2226740" cy="195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20" name="Straight Connector 19">
            <a:extLst>
              <a:ext uri="{FF2B5EF4-FFF2-40B4-BE49-F238E27FC236}">
                <a16:creationId xmlns:a16="http://schemas.microsoft.com/office/drawing/2014/main" id="{F177BC4E-696E-487D-B42B-DC620498F1DD}"/>
              </a:ext>
            </a:extLst>
          </p:cNvPr>
          <p:cNvCxnSpPr>
            <a:cxnSpLocks/>
          </p:cNvCxnSpPr>
          <p:nvPr userDrawn="1"/>
        </p:nvCxnSpPr>
        <p:spPr>
          <a:xfrm>
            <a:off x="933660" y="4975448"/>
            <a:ext cx="10120463" cy="0"/>
          </a:xfrm>
          <a:prstGeom prst="line">
            <a:avLst/>
          </a:prstGeom>
          <a:ln w="31750">
            <a:solidFill>
              <a:srgbClr val="0070C0"/>
            </a:solidFill>
          </a:ln>
          <a:effectLst/>
        </p:spPr>
        <p:style>
          <a:lnRef idx="2">
            <a:schemeClr val="accent1"/>
          </a:lnRef>
          <a:fillRef idx="0">
            <a:schemeClr val="accent1"/>
          </a:fillRef>
          <a:effectRef idx="1">
            <a:schemeClr val="accent1"/>
          </a:effectRef>
          <a:fontRef idx="minor">
            <a:schemeClr val="tx1"/>
          </a:fontRef>
        </p:style>
      </p:cxnSp>
      <p:sp>
        <p:nvSpPr>
          <p:cNvPr id="22" name="Text Placeholder 5">
            <a:extLst>
              <a:ext uri="{FF2B5EF4-FFF2-40B4-BE49-F238E27FC236}">
                <a16:creationId xmlns:a16="http://schemas.microsoft.com/office/drawing/2014/main" id="{68CAC34C-6A65-4886-9F32-80010479410B}"/>
              </a:ext>
            </a:extLst>
          </p:cNvPr>
          <p:cNvSpPr>
            <a:spLocks noGrp="1"/>
          </p:cNvSpPr>
          <p:nvPr>
            <p:ph type="body" sz="quarter" idx="10" hasCustomPrompt="1"/>
          </p:nvPr>
        </p:nvSpPr>
        <p:spPr>
          <a:xfrm>
            <a:off x="933660" y="5044635"/>
            <a:ext cx="3176207" cy="276320"/>
          </a:xfrm>
          <a:prstGeom prst="rect">
            <a:avLst/>
          </a:prstGeom>
        </p:spPr>
        <p:txBody>
          <a:bodyPr>
            <a:noAutofit/>
          </a:bodyPr>
          <a:lstStyle>
            <a:lvl1pPr marL="0" indent="0">
              <a:buNone/>
              <a:defRPr sz="1428" b="0">
                <a:solidFill>
                  <a:srgbClr val="0075BA"/>
                </a:solidFill>
                <a:latin typeface="+mn-lt"/>
              </a:defRPr>
            </a:lvl1pPr>
          </a:lstStyle>
          <a:p>
            <a:pPr lvl="0"/>
            <a:r>
              <a:rPr lang="en-US"/>
              <a:t>Click to enter date</a:t>
            </a:r>
          </a:p>
        </p:txBody>
      </p:sp>
      <p:sp>
        <p:nvSpPr>
          <p:cNvPr id="17" name="McK Disclaimer">
            <a:extLst>
              <a:ext uri="{FF2B5EF4-FFF2-40B4-BE49-F238E27FC236}">
                <a16:creationId xmlns:a16="http://schemas.microsoft.com/office/drawing/2014/main" id="{0265E4CB-D2EC-4E5C-B841-6B0A42BC7D70}"/>
              </a:ext>
            </a:extLst>
          </p:cNvPr>
          <p:cNvSpPr>
            <a:spLocks noChangeArrowheads="1"/>
          </p:cNvSpPr>
          <p:nvPr userDrawn="1">
            <p:custDataLst>
              <p:tags r:id="rId3"/>
            </p:custDataLst>
          </p:nvPr>
        </p:nvSpPr>
        <p:spPr bwMode="auto">
          <a:xfrm>
            <a:off x="933659" y="6008979"/>
            <a:ext cx="4819759" cy="2561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defTabSz="804863">
              <a:defRPr sz="2400">
                <a:solidFill>
                  <a:schemeClr val="tx1"/>
                </a:solidFill>
                <a:latin typeface="Arial" charset="0"/>
              </a:defRPr>
            </a:lvl1pPr>
            <a:lvl2pPr marL="401638" defTabSz="804863">
              <a:defRPr sz="2400">
                <a:solidFill>
                  <a:schemeClr val="tx1"/>
                </a:solidFill>
                <a:latin typeface="Arial" charset="0"/>
              </a:defRPr>
            </a:lvl2pPr>
            <a:lvl3pPr marL="804863" defTabSz="804863">
              <a:defRPr sz="2400">
                <a:solidFill>
                  <a:schemeClr val="tx1"/>
                </a:solidFill>
                <a:latin typeface="Arial" charset="0"/>
              </a:defRPr>
            </a:lvl3pPr>
            <a:lvl4pPr marL="1206500" defTabSz="804863">
              <a:defRPr sz="2400">
                <a:solidFill>
                  <a:schemeClr val="tx1"/>
                </a:solidFill>
                <a:latin typeface="Arial" charset="0"/>
              </a:defRPr>
            </a:lvl4pPr>
            <a:lvl5pPr marL="1608138" defTabSz="804863">
              <a:defRPr sz="2400">
                <a:solidFill>
                  <a:schemeClr val="tx1"/>
                </a:solidFill>
                <a:latin typeface="Arial" charset="0"/>
              </a:defRPr>
            </a:lvl5pPr>
            <a:lvl6pPr marL="2065338" defTabSz="804863" fontAlgn="base">
              <a:spcBef>
                <a:spcPct val="0"/>
              </a:spcBef>
              <a:spcAft>
                <a:spcPct val="0"/>
              </a:spcAft>
              <a:defRPr sz="2400">
                <a:solidFill>
                  <a:schemeClr val="tx1"/>
                </a:solidFill>
                <a:latin typeface="Arial" charset="0"/>
              </a:defRPr>
            </a:lvl6pPr>
            <a:lvl7pPr marL="2522538" defTabSz="804863" fontAlgn="base">
              <a:spcBef>
                <a:spcPct val="0"/>
              </a:spcBef>
              <a:spcAft>
                <a:spcPct val="0"/>
              </a:spcAft>
              <a:defRPr sz="2400">
                <a:solidFill>
                  <a:schemeClr val="tx1"/>
                </a:solidFill>
                <a:latin typeface="Arial" charset="0"/>
              </a:defRPr>
            </a:lvl7pPr>
            <a:lvl8pPr marL="2979738" defTabSz="804863" fontAlgn="base">
              <a:spcBef>
                <a:spcPct val="0"/>
              </a:spcBef>
              <a:spcAft>
                <a:spcPct val="0"/>
              </a:spcAft>
              <a:defRPr sz="2400">
                <a:solidFill>
                  <a:schemeClr val="tx1"/>
                </a:solidFill>
                <a:latin typeface="Arial" charset="0"/>
              </a:defRPr>
            </a:lvl8pPr>
            <a:lvl9pPr marL="3436938" defTabSz="804863" fontAlgn="base">
              <a:spcBef>
                <a:spcPct val="0"/>
              </a:spcBef>
              <a:spcAft>
                <a:spcPct val="0"/>
              </a:spcAft>
              <a:defRPr sz="2400">
                <a:solidFill>
                  <a:schemeClr val="tx1"/>
                </a:solidFill>
                <a:latin typeface="Arial" charset="0"/>
              </a:defRPr>
            </a:lvl9pPr>
          </a:lstStyle>
          <a:p>
            <a:pPr eaLnBrk="0" hangingPunct="0"/>
            <a:r>
              <a:rPr lang="en-US" sz="816">
                <a:solidFill>
                  <a:schemeClr val="bg1">
                    <a:lumMod val="50000"/>
                  </a:schemeClr>
                </a:solidFill>
                <a:latin typeface="+mn-lt"/>
              </a:rPr>
              <a:t>CONFIDENTIAL AND PROPRIETARY</a:t>
            </a:r>
          </a:p>
          <a:p>
            <a:pPr eaLnBrk="0" hangingPunct="0"/>
            <a:r>
              <a:rPr lang="en-US" sz="816">
                <a:solidFill>
                  <a:schemeClr val="bg1">
                    <a:lumMod val="50000"/>
                  </a:schemeClr>
                </a:solidFill>
                <a:latin typeface="+mn-lt"/>
              </a:rPr>
              <a:t>Any use of this material without specific permission of Progressive Insurance is strictly prohibited</a:t>
            </a:r>
          </a:p>
        </p:txBody>
      </p:sp>
      <p:pic>
        <p:nvPicPr>
          <p:cNvPr id="3" name="Picture 2">
            <a:extLst>
              <a:ext uri="{FF2B5EF4-FFF2-40B4-BE49-F238E27FC236}">
                <a16:creationId xmlns:a16="http://schemas.microsoft.com/office/drawing/2014/main" id="{8DCA2DD7-008F-4D66-BE38-628EF342E748}"/>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415455" y="358647"/>
            <a:ext cx="3689484" cy="439218"/>
          </a:xfrm>
          <a:prstGeom prst="rect">
            <a:avLst/>
          </a:prstGeom>
        </p:spPr>
      </p:pic>
    </p:spTree>
    <p:extLst>
      <p:ext uri="{BB962C8B-B14F-4D97-AF65-F5344CB8AC3E}">
        <p14:creationId xmlns:p14="http://schemas.microsoft.com/office/powerpoint/2010/main" val="272649478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4CC986C-3853-4199-9A18-43CB13AFC144}"/>
              </a:ext>
            </a:extLst>
          </p:cNvPr>
          <p:cNvSpPr>
            <a:spLocks noGrp="1"/>
          </p:cNvSpPr>
          <p:nvPr>
            <p:ph type="dt" sz="half" idx="10"/>
          </p:nvPr>
        </p:nvSpPr>
        <p:spPr/>
        <p:txBody>
          <a:bodyPr/>
          <a:lstStyle/>
          <a:p>
            <a:fld id="{F28B73A0-6A18-4B42-9235-A5C4912AD8E3}" type="datetimeFigureOut">
              <a:rPr lang="en-US" smtClean="0"/>
              <a:t>4/23/2024</a:t>
            </a:fld>
            <a:endParaRPr lang="en-US"/>
          </a:p>
        </p:txBody>
      </p:sp>
      <p:sp>
        <p:nvSpPr>
          <p:cNvPr id="3" name="Footer Placeholder 2">
            <a:extLst>
              <a:ext uri="{FF2B5EF4-FFF2-40B4-BE49-F238E27FC236}">
                <a16:creationId xmlns:a16="http://schemas.microsoft.com/office/drawing/2014/main" id="{188E618C-8E6A-4E69-8B0D-344E45857AFD}"/>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6875B2F4-0C33-4BA8-B100-6EF174AE7F18}"/>
              </a:ext>
            </a:extLst>
          </p:cNvPr>
          <p:cNvSpPr>
            <a:spLocks noGrp="1"/>
          </p:cNvSpPr>
          <p:nvPr>
            <p:ph type="sldNum" sz="quarter" idx="12"/>
          </p:nvPr>
        </p:nvSpPr>
        <p:spPr/>
        <p:txBody>
          <a:bodyPr/>
          <a:lstStyle/>
          <a:p>
            <a:fld id="{F2FF71F7-F8DC-4E7A-8A21-8A750ABD7FAD}" type="slidenum">
              <a:rPr lang="en-US" smtClean="0"/>
              <a:t>‹#›</a:t>
            </a:fld>
            <a:endParaRPr lang="en-US"/>
          </a:p>
        </p:txBody>
      </p:sp>
    </p:spTree>
    <p:extLst>
      <p:ext uri="{BB962C8B-B14F-4D97-AF65-F5344CB8AC3E}">
        <p14:creationId xmlns:p14="http://schemas.microsoft.com/office/powerpoint/2010/main" val="40830804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5476AD-CC58-496E-8D66-7CE35E3713B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1B57222-15E7-4955-9F3F-72D0E3A8791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0DB0671-C7F0-49C4-9087-BD18C3E85AB1}"/>
              </a:ext>
            </a:extLst>
          </p:cNvPr>
          <p:cNvSpPr>
            <a:spLocks noGrp="1"/>
          </p:cNvSpPr>
          <p:nvPr>
            <p:ph type="dt" sz="half" idx="10"/>
          </p:nvPr>
        </p:nvSpPr>
        <p:spPr/>
        <p:txBody>
          <a:bodyPr/>
          <a:lstStyle/>
          <a:p>
            <a:fld id="{F28B73A0-6A18-4B42-9235-A5C4912AD8E3}" type="datetimeFigureOut">
              <a:rPr lang="en-US" smtClean="0"/>
              <a:t>4/23/2024</a:t>
            </a:fld>
            <a:endParaRPr lang="en-US"/>
          </a:p>
        </p:txBody>
      </p:sp>
      <p:sp>
        <p:nvSpPr>
          <p:cNvPr id="5" name="Footer Placeholder 4">
            <a:extLst>
              <a:ext uri="{FF2B5EF4-FFF2-40B4-BE49-F238E27FC236}">
                <a16:creationId xmlns:a16="http://schemas.microsoft.com/office/drawing/2014/main" id="{0DF311E1-E0FF-4707-8DEE-76BCFF871BC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536E3A7-5E0B-4064-B555-2C537F450EB3}"/>
              </a:ext>
            </a:extLst>
          </p:cNvPr>
          <p:cNvSpPr>
            <a:spLocks noGrp="1"/>
          </p:cNvSpPr>
          <p:nvPr>
            <p:ph type="sldNum" sz="quarter" idx="12"/>
          </p:nvPr>
        </p:nvSpPr>
        <p:spPr/>
        <p:txBody>
          <a:bodyPr/>
          <a:lstStyle/>
          <a:p>
            <a:fld id="{F2FF71F7-F8DC-4E7A-8A21-8A750ABD7FAD}" type="slidenum">
              <a:rPr lang="en-US" smtClean="0"/>
              <a:t>‹#›</a:t>
            </a:fld>
            <a:endParaRPr lang="en-US"/>
          </a:p>
        </p:txBody>
      </p:sp>
    </p:spTree>
    <p:extLst>
      <p:ext uri="{BB962C8B-B14F-4D97-AF65-F5344CB8AC3E}">
        <p14:creationId xmlns:p14="http://schemas.microsoft.com/office/powerpoint/2010/main" val="153960775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Small image content page">
    <p:spTree>
      <p:nvGrpSpPr>
        <p:cNvPr id="1" name=""/>
        <p:cNvGrpSpPr/>
        <p:nvPr/>
      </p:nvGrpSpPr>
      <p:grpSpPr>
        <a:xfrm>
          <a:off x="0" y="0"/>
          <a:ext cx="0" cy="0"/>
          <a:chOff x="0" y="0"/>
          <a:chExt cx="0" cy="0"/>
        </a:xfrm>
      </p:grpSpPr>
      <p:sp>
        <p:nvSpPr>
          <p:cNvPr id="5" name="Picture Placeholder 6">
            <a:extLst>
              <a:ext uri="{FF2B5EF4-FFF2-40B4-BE49-F238E27FC236}">
                <a16:creationId xmlns:a16="http://schemas.microsoft.com/office/drawing/2014/main" id="{143D8486-FD52-0B4D-8776-3630B80DF6F2}"/>
              </a:ext>
            </a:extLst>
          </p:cNvPr>
          <p:cNvSpPr>
            <a:spLocks noGrp="1"/>
          </p:cNvSpPr>
          <p:nvPr>
            <p:ph type="pic" sz="quarter" idx="11"/>
          </p:nvPr>
        </p:nvSpPr>
        <p:spPr>
          <a:xfrm>
            <a:off x="8637270" y="0"/>
            <a:ext cx="3554730" cy="6858000"/>
          </a:xfrm>
          <a:prstGeom prst="rect">
            <a:avLst/>
          </a:prstGeom>
          <a:solidFill>
            <a:srgbClr val="F3F9FC"/>
          </a:solidFill>
        </p:spPr>
        <p:txBody>
          <a:bodyPr/>
          <a:lstStyle>
            <a:lvl1pPr>
              <a:defRPr>
                <a:solidFill>
                  <a:schemeClr val="tx1">
                    <a:lumMod val="65000"/>
                    <a:lumOff val="35000"/>
                  </a:schemeClr>
                </a:solidFill>
              </a:defRPr>
            </a:lvl1pPr>
          </a:lstStyle>
          <a:p>
            <a:endParaRPr lang="en-US"/>
          </a:p>
        </p:txBody>
      </p:sp>
      <p:sp>
        <p:nvSpPr>
          <p:cNvPr id="6" name="Text Placeholder 5">
            <a:extLst>
              <a:ext uri="{FF2B5EF4-FFF2-40B4-BE49-F238E27FC236}">
                <a16:creationId xmlns:a16="http://schemas.microsoft.com/office/drawing/2014/main" id="{A563FC8F-4F86-024F-9D6F-1C1D919AE889}"/>
              </a:ext>
            </a:extLst>
          </p:cNvPr>
          <p:cNvSpPr>
            <a:spLocks noGrp="1"/>
          </p:cNvSpPr>
          <p:nvPr>
            <p:ph type="body" sz="quarter" idx="10" hasCustomPrompt="1"/>
          </p:nvPr>
        </p:nvSpPr>
        <p:spPr>
          <a:xfrm>
            <a:off x="539060" y="432596"/>
            <a:ext cx="7474640" cy="424732"/>
          </a:xfrm>
          <a:prstGeom prst="rect">
            <a:avLst/>
          </a:prstGeom>
          <a:noFill/>
        </p:spPr>
        <p:txBody>
          <a:bodyPr wrap="square" rtlCol="0" anchor="t">
            <a:spAutoFit/>
          </a:bodyPr>
          <a:lstStyle>
            <a:lvl1pPr marL="0" indent="0">
              <a:buFontTx/>
              <a:buNone/>
              <a:defRPr lang="en-US" sz="2400" b="1" dirty="0">
                <a:solidFill>
                  <a:schemeClr val="tx1">
                    <a:lumMod val="65000"/>
                    <a:lumOff val="35000"/>
                  </a:schemeClr>
                </a:solidFill>
                <a:cs typeface="Arial" panose="020B0604020202020204" pitchFamily="34" charset="0"/>
              </a:defRPr>
            </a:lvl1pPr>
          </a:lstStyle>
          <a:p>
            <a:pPr marL="0" lvl="0"/>
            <a:r>
              <a:rPr lang="en-US"/>
              <a:t>Headline goes here</a:t>
            </a:r>
          </a:p>
        </p:txBody>
      </p:sp>
      <p:sp>
        <p:nvSpPr>
          <p:cNvPr id="4" name="Slide Number Placeholder 2">
            <a:extLst>
              <a:ext uri="{FF2B5EF4-FFF2-40B4-BE49-F238E27FC236}">
                <a16:creationId xmlns:a16="http://schemas.microsoft.com/office/drawing/2014/main" id="{3CFE2693-99FD-AD47-9254-2BA6F70858CA}"/>
              </a:ext>
            </a:extLst>
          </p:cNvPr>
          <p:cNvSpPr txBox="1">
            <a:spLocks/>
          </p:cNvSpPr>
          <p:nvPr userDrawn="1"/>
        </p:nvSpPr>
        <p:spPr>
          <a:xfrm>
            <a:off x="11370917" y="6407702"/>
            <a:ext cx="6858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79C93148-1C45-654B-A971-1E082E2E12B2}" type="slidenum">
              <a:rPr lang="en-US" sz="1300" smtClean="0">
                <a:solidFill>
                  <a:schemeClr val="tx1">
                    <a:lumMod val="65000"/>
                    <a:lumOff val="35000"/>
                  </a:schemeClr>
                </a:solidFill>
              </a:rPr>
              <a:pPr algn="r"/>
              <a:t>‹#›</a:t>
            </a:fld>
            <a:endParaRPr lang="en-US" sz="1300">
              <a:solidFill>
                <a:schemeClr val="tx1">
                  <a:lumMod val="65000"/>
                  <a:lumOff val="35000"/>
                </a:schemeClr>
              </a:solidFill>
            </a:endParaRPr>
          </a:p>
        </p:txBody>
      </p:sp>
    </p:spTree>
    <p:extLst>
      <p:ext uri="{BB962C8B-B14F-4D97-AF65-F5344CB8AC3E}">
        <p14:creationId xmlns:p14="http://schemas.microsoft.com/office/powerpoint/2010/main" val="17103212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DC1883-BC63-C8F3-7CE8-404540E6A2E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195470C-4E08-D384-227C-1960F7B62DF9}"/>
              </a:ext>
            </a:extLst>
          </p:cNvPr>
          <p:cNvSpPr>
            <a:spLocks noGrp="1"/>
          </p:cNvSpPr>
          <p:nvPr>
            <p:ph idx="1"/>
          </p:nvPr>
        </p:nvSpPr>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1694207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0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5DAA86-D55E-878F-2117-02B21928FE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FA16C9A-DAEF-61A4-4C39-8FAD1A762217}"/>
              </a:ext>
            </a:extLst>
          </p:cNvPr>
          <p:cNvSpPr>
            <a:spLocks noGrp="1"/>
          </p:cNvSpPr>
          <p:nvPr>
            <p:ph sz="half" idx="1"/>
          </p:nvPr>
        </p:nvSpPr>
        <p:spPr>
          <a:xfrm>
            <a:off x="802619" y="1205836"/>
            <a:ext cx="4968744" cy="4656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022C836-C949-2A38-676F-EEBFA18F3F83}"/>
              </a:ext>
            </a:extLst>
          </p:cNvPr>
          <p:cNvSpPr>
            <a:spLocks noGrp="1"/>
          </p:cNvSpPr>
          <p:nvPr>
            <p:ph sz="half" idx="2"/>
          </p:nvPr>
        </p:nvSpPr>
        <p:spPr>
          <a:xfrm>
            <a:off x="6420637" y="1205836"/>
            <a:ext cx="4968744" cy="4656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9537067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ntent 0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5DAA86-D55E-878F-2117-02B21928FE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FA16C9A-DAEF-61A4-4C39-8FAD1A762217}"/>
              </a:ext>
            </a:extLst>
          </p:cNvPr>
          <p:cNvSpPr>
            <a:spLocks noGrp="1"/>
          </p:cNvSpPr>
          <p:nvPr>
            <p:ph sz="half" idx="1"/>
          </p:nvPr>
        </p:nvSpPr>
        <p:spPr>
          <a:xfrm>
            <a:off x="740837" y="1205836"/>
            <a:ext cx="3733091" cy="4656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7950714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ntent 0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5DAA86-D55E-878F-2117-02B21928FE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FA16C9A-DAEF-61A4-4C39-8FAD1A762217}"/>
              </a:ext>
            </a:extLst>
          </p:cNvPr>
          <p:cNvSpPr>
            <a:spLocks noGrp="1"/>
          </p:cNvSpPr>
          <p:nvPr>
            <p:ph sz="half" idx="1"/>
          </p:nvPr>
        </p:nvSpPr>
        <p:spPr>
          <a:xfrm>
            <a:off x="802619" y="1205836"/>
            <a:ext cx="4968744" cy="4656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107964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0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BDE19B3-822A-5314-2822-F695BC77A962}"/>
              </a:ext>
            </a:extLst>
          </p:cNvPr>
          <p:cNvPicPr>
            <a:picLocks noChangeAspect="1"/>
          </p:cNvPicPr>
          <p:nvPr/>
        </p:nvPicPr>
        <p:blipFill>
          <a:blip r:embed="rId2"/>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4E4C80B-FE3B-111B-89D6-619FA4498FF1}"/>
              </a:ext>
            </a:extLst>
          </p:cNvPr>
          <p:cNvSpPr>
            <a:spLocks noGrp="1"/>
          </p:cNvSpPr>
          <p:nvPr>
            <p:ph type="ctrTitle"/>
          </p:nvPr>
        </p:nvSpPr>
        <p:spPr>
          <a:xfrm>
            <a:off x="4274923" y="2135810"/>
            <a:ext cx="6792859" cy="2387600"/>
          </a:xfrm>
          <a:prstGeom prst="rect">
            <a:avLst/>
          </a:prstGeom>
        </p:spPr>
        <p:txBody>
          <a:bodyPr anchor="ctr">
            <a:normAutofit/>
          </a:bodyPr>
          <a:lstStyle>
            <a:lvl1pPr algn="ctr">
              <a:defRPr sz="4000">
                <a:solidFill>
                  <a:srgbClr val="0A3360"/>
                </a:solidFill>
              </a:defRPr>
            </a:lvl1pPr>
          </a:lstStyle>
          <a:p>
            <a:r>
              <a:rPr lang="en-US"/>
              <a:t>Click to edit Master title style</a:t>
            </a:r>
          </a:p>
        </p:txBody>
      </p:sp>
      <p:pic>
        <p:nvPicPr>
          <p:cNvPr id="3" name="Picture 2">
            <a:extLst>
              <a:ext uri="{FF2B5EF4-FFF2-40B4-BE49-F238E27FC236}">
                <a16:creationId xmlns:a16="http://schemas.microsoft.com/office/drawing/2014/main" id="{0EB4AF54-8067-6428-159B-9A441F24788C}"/>
              </a:ext>
            </a:extLst>
          </p:cNvPr>
          <p:cNvPicPr>
            <a:picLocks noChangeAspect="1"/>
          </p:cNvPicPr>
          <p:nvPr/>
        </p:nvPicPr>
        <p:blipFill>
          <a:blip r:embed="rId2"/>
          <a:srcRect/>
          <a:stretch/>
        </p:blipFill>
        <p:spPr>
          <a:xfrm>
            <a:off x="0" y="0"/>
            <a:ext cx="12192000" cy="6858000"/>
          </a:xfrm>
          <a:prstGeom prst="rect">
            <a:avLst/>
          </a:prstGeom>
        </p:spPr>
      </p:pic>
    </p:spTree>
    <p:extLst>
      <p:ext uri="{BB962C8B-B14F-4D97-AF65-F5344CB8AC3E}">
        <p14:creationId xmlns:p14="http://schemas.microsoft.com/office/powerpoint/2010/main" val="77517485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ntent 0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5DAA86-D55E-878F-2117-02B21928FE1F}"/>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C022C836-C949-2A38-676F-EEBFA18F3F83}"/>
              </a:ext>
            </a:extLst>
          </p:cNvPr>
          <p:cNvSpPr>
            <a:spLocks noGrp="1"/>
          </p:cNvSpPr>
          <p:nvPr>
            <p:ph sz="half" idx="2"/>
          </p:nvPr>
        </p:nvSpPr>
        <p:spPr>
          <a:xfrm>
            <a:off x="6420637" y="1205836"/>
            <a:ext cx="4968744" cy="4656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8822234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ntent 05">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5DAA86-D55E-878F-2117-02B21928FE1F}"/>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C022C836-C949-2A38-676F-EEBFA18F3F83}"/>
              </a:ext>
            </a:extLst>
          </p:cNvPr>
          <p:cNvSpPr>
            <a:spLocks noGrp="1"/>
          </p:cNvSpPr>
          <p:nvPr>
            <p:ph sz="half" idx="2"/>
          </p:nvPr>
        </p:nvSpPr>
        <p:spPr>
          <a:xfrm>
            <a:off x="7718073" y="1205836"/>
            <a:ext cx="3733091" cy="4656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2904217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C6E209-587E-4B55-08C1-8E43B9BBB7FB}"/>
              </a:ext>
            </a:extLst>
          </p:cNvPr>
          <p:cNvSpPr>
            <a:spLocks noGrp="1"/>
          </p:cNvSpPr>
          <p:nvPr>
            <p:ph type="title"/>
          </p:nvPr>
        </p:nvSpPr>
        <p:spPr/>
        <p:txBody>
          <a:bodyPr/>
          <a:lstStyle>
            <a:lvl1pPr>
              <a:defRPr b="1"/>
            </a:lvl1pPr>
          </a:lstStyle>
          <a:p>
            <a:r>
              <a:rPr lang="en-US"/>
              <a:t>Click to edit Master title style</a:t>
            </a:r>
          </a:p>
        </p:txBody>
      </p:sp>
    </p:spTree>
    <p:extLst>
      <p:ext uri="{BB962C8B-B14F-4D97-AF65-F5344CB8AC3E}">
        <p14:creationId xmlns:p14="http://schemas.microsoft.com/office/powerpoint/2010/main" val="171248364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319460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DC1883-BC63-C8F3-7CE8-404540E6A2E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195470C-4E08-D384-227C-1960F7B62DF9}"/>
              </a:ext>
            </a:extLst>
          </p:cNvPr>
          <p:cNvSpPr>
            <a:spLocks noGrp="1"/>
          </p:cNvSpPr>
          <p:nvPr>
            <p:ph idx="1"/>
          </p:nvPr>
        </p:nvSpPr>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0907078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woObj" preserve="1">
  <p:cSld name="Two Content 0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5DAA86-D55E-878F-2117-02B21928FE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FA16C9A-DAEF-61A4-4C39-8FAD1A762217}"/>
              </a:ext>
            </a:extLst>
          </p:cNvPr>
          <p:cNvSpPr>
            <a:spLocks noGrp="1"/>
          </p:cNvSpPr>
          <p:nvPr>
            <p:ph sz="half" idx="1"/>
          </p:nvPr>
        </p:nvSpPr>
        <p:spPr>
          <a:xfrm>
            <a:off x="802619" y="1205836"/>
            <a:ext cx="4968744" cy="4656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022C836-C949-2A38-676F-EEBFA18F3F83}"/>
              </a:ext>
            </a:extLst>
          </p:cNvPr>
          <p:cNvSpPr>
            <a:spLocks noGrp="1"/>
          </p:cNvSpPr>
          <p:nvPr>
            <p:ph sz="half" idx="2"/>
          </p:nvPr>
        </p:nvSpPr>
        <p:spPr>
          <a:xfrm>
            <a:off x="6420637" y="1205836"/>
            <a:ext cx="4968744" cy="4656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893273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Content 0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5DAA86-D55E-878F-2117-02B21928FE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FA16C9A-DAEF-61A4-4C39-8FAD1A762217}"/>
              </a:ext>
            </a:extLst>
          </p:cNvPr>
          <p:cNvSpPr>
            <a:spLocks noGrp="1"/>
          </p:cNvSpPr>
          <p:nvPr>
            <p:ph sz="half" idx="1"/>
          </p:nvPr>
        </p:nvSpPr>
        <p:spPr>
          <a:xfrm>
            <a:off x="740837" y="1205836"/>
            <a:ext cx="3733091" cy="4656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8681876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ntent 0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5DAA86-D55E-878F-2117-02B21928FE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FA16C9A-DAEF-61A4-4C39-8FAD1A762217}"/>
              </a:ext>
            </a:extLst>
          </p:cNvPr>
          <p:cNvSpPr>
            <a:spLocks noGrp="1"/>
          </p:cNvSpPr>
          <p:nvPr>
            <p:ph sz="half" idx="1"/>
          </p:nvPr>
        </p:nvSpPr>
        <p:spPr>
          <a:xfrm>
            <a:off x="802619" y="1205836"/>
            <a:ext cx="4968744" cy="4656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5666966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ntent 0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5DAA86-D55E-878F-2117-02B21928FE1F}"/>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C022C836-C949-2A38-676F-EEBFA18F3F83}"/>
              </a:ext>
            </a:extLst>
          </p:cNvPr>
          <p:cNvSpPr>
            <a:spLocks noGrp="1"/>
          </p:cNvSpPr>
          <p:nvPr>
            <p:ph sz="half" idx="2"/>
          </p:nvPr>
        </p:nvSpPr>
        <p:spPr>
          <a:xfrm>
            <a:off x="6420637" y="1205836"/>
            <a:ext cx="4968744" cy="4656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8277785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ntent 05">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5DAA86-D55E-878F-2117-02B21928FE1F}"/>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C022C836-C949-2A38-676F-EEBFA18F3F83}"/>
              </a:ext>
            </a:extLst>
          </p:cNvPr>
          <p:cNvSpPr>
            <a:spLocks noGrp="1"/>
          </p:cNvSpPr>
          <p:nvPr>
            <p:ph sz="half" idx="2"/>
          </p:nvPr>
        </p:nvSpPr>
        <p:spPr>
          <a:xfrm>
            <a:off x="7718073" y="1205836"/>
            <a:ext cx="3733091" cy="4656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7166144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Section Header 01">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95A4CD4-F10C-8217-3EA2-A9CB78B83F6A}"/>
              </a:ext>
            </a:extLst>
          </p:cNvPr>
          <p:cNvPicPr>
            <a:picLocks noChangeAspect="1"/>
          </p:cNvPicPr>
          <p:nvPr/>
        </p:nvPicPr>
        <p:blipFill>
          <a:blip r:embed="rId2"/>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6940CD94-8693-6815-33D5-F6AD9A9FA331}"/>
              </a:ext>
            </a:extLst>
          </p:cNvPr>
          <p:cNvSpPr>
            <a:spLocks noGrp="1"/>
          </p:cNvSpPr>
          <p:nvPr>
            <p:ph type="title"/>
          </p:nvPr>
        </p:nvSpPr>
        <p:spPr>
          <a:xfrm>
            <a:off x="831850" y="2355381"/>
            <a:ext cx="10515600" cy="1948458"/>
          </a:xfrm>
          <a:prstGeom prst="rect">
            <a:avLst/>
          </a:prstGeom>
        </p:spPr>
        <p:txBody>
          <a:bodyPr anchor="ctr">
            <a:normAutofit/>
          </a:bodyPr>
          <a:lstStyle>
            <a:lvl1pPr algn="ctr">
              <a:defRPr sz="4000">
                <a:solidFill>
                  <a:srgbClr val="0A3360"/>
                </a:solidFill>
              </a:defRPr>
            </a:lvl1pPr>
          </a:lstStyle>
          <a:p>
            <a:r>
              <a:rPr lang="en-US"/>
              <a:t>Click to edit Master title style</a:t>
            </a:r>
          </a:p>
        </p:txBody>
      </p:sp>
      <p:pic>
        <p:nvPicPr>
          <p:cNvPr id="3" name="Picture 2">
            <a:extLst>
              <a:ext uri="{FF2B5EF4-FFF2-40B4-BE49-F238E27FC236}">
                <a16:creationId xmlns:a16="http://schemas.microsoft.com/office/drawing/2014/main" id="{C631D0A1-A404-0E96-5A30-7B207628E77B}"/>
              </a:ext>
            </a:extLst>
          </p:cNvPr>
          <p:cNvPicPr>
            <a:picLocks noChangeAspect="1"/>
          </p:cNvPicPr>
          <p:nvPr/>
        </p:nvPicPr>
        <p:blipFill>
          <a:blip r:embed="rId2"/>
          <a:srcRect/>
          <a:stretch/>
        </p:blipFill>
        <p:spPr>
          <a:xfrm>
            <a:off x="0" y="0"/>
            <a:ext cx="12192000" cy="6858000"/>
          </a:xfrm>
          <a:prstGeom prst="rect">
            <a:avLst/>
          </a:prstGeom>
        </p:spPr>
      </p:pic>
    </p:spTree>
    <p:extLst>
      <p:ext uri="{BB962C8B-B14F-4D97-AF65-F5344CB8AC3E}">
        <p14:creationId xmlns:p14="http://schemas.microsoft.com/office/powerpoint/2010/main" val="91251145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C6E209-587E-4B55-08C1-8E43B9BBB7F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0830794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445149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DC1883-BC63-C8F3-7CE8-404540E6A2E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195470C-4E08-D384-227C-1960F7B62DF9}"/>
              </a:ext>
            </a:extLst>
          </p:cNvPr>
          <p:cNvSpPr>
            <a:spLocks noGrp="1"/>
          </p:cNvSpPr>
          <p:nvPr>
            <p:ph idx="1"/>
          </p:nvPr>
        </p:nvSpPr>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2906831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Obj" preserve="1">
  <p:cSld name="Two Content 0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5DAA86-D55E-878F-2117-02B21928FE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FA16C9A-DAEF-61A4-4C39-8FAD1A762217}"/>
              </a:ext>
            </a:extLst>
          </p:cNvPr>
          <p:cNvSpPr>
            <a:spLocks noGrp="1"/>
          </p:cNvSpPr>
          <p:nvPr>
            <p:ph sz="half" idx="1"/>
          </p:nvPr>
        </p:nvSpPr>
        <p:spPr>
          <a:xfrm>
            <a:off x="802619" y="1205836"/>
            <a:ext cx="4968744" cy="4656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022C836-C949-2A38-676F-EEBFA18F3F83}"/>
              </a:ext>
            </a:extLst>
          </p:cNvPr>
          <p:cNvSpPr>
            <a:spLocks noGrp="1"/>
          </p:cNvSpPr>
          <p:nvPr>
            <p:ph sz="half" idx="2"/>
          </p:nvPr>
        </p:nvSpPr>
        <p:spPr>
          <a:xfrm>
            <a:off x="6420637" y="1205836"/>
            <a:ext cx="4968744" cy="4656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522192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ntent 0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5DAA86-D55E-878F-2117-02B21928FE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FA16C9A-DAEF-61A4-4C39-8FAD1A762217}"/>
              </a:ext>
            </a:extLst>
          </p:cNvPr>
          <p:cNvSpPr>
            <a:spLocks noGrp="1"/>
          </p:cNvSpPr>
          <p:nvPr>
            <p:ph sz="half" idx="1"/>
          </p:nvPr>
        </p:nvSpPr>
        <p:spPr>
          <a:xfrm>
            <a:off x="740837" y="1205836"/>
            <a:ext cx="3733091" cy="4656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5004684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ntent 0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5DAA86-D55E-878F-2117-02B21928FE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FA16C9A-DAEF-61A4-4C39-8FAD1A762217}"/>
              </a:ext>
            </a:extLst>
          </p:cNvPr>
          <p:cNvSpPr>
            <a:spLocks noGrp="1"/>
          </p:cNvSpPr>
          <p:nvPr>
            <p:ph sz="half" idx="1"/>
          </p:nvPr>
        </p:nvSpPr>
        <p:spPr>
          <a:xfrm>
            <a:off x="802619" y="1205836"/>
            <a:ext cx="4968744" cy="4656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196505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ntent 0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5DAA86-D55E-878F-2117-02B21928FE1F}"/>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C022C836-C949-2A38-676F-EEBFA18F3F83}"/>
              </a:ext>
            </a:extLst>
          </p:cNvPr>
          <p:cNvSpPr>
            <a:spLocks noGrp="1"/>
          </p:cNvSpPr>
          <p:nvPr>
            <p:ph sz="half" idx="2"/>
          </p:nvPr>
        </p:nvSpPr>
        <p:spPr>
          <a:xfrm>
            <a:off x="6420637" y="1205836"/>
            <a:ext cx="4968744" cy="4656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701210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ntent 05">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5DAA86-D55E-878F-2117-02B21928FE1F}"/>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C022C836-C949-2A38-676F-EEBFA18F3F83}"/>
              </a:ext>
            </a:extLst>
          </p:cNvPr>
          <p:cNvSpPr>
            <a:spLocks noGrp="1"/>
          </p:cNvSpPr>
          <p:nvPr>
            <p:ph sz="half" idx="2"/>
          </p:nvPr>
        </p:nvSpPr>
        <p:spPr>
          <a:xfrm>
            <a:off x="7718073" y="1205836"/>
            <a:ext cx="3733091" cy="4656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918996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C6E209-587E-4B55-08C1-8E43B9BBB7F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5929115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6643731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25AA03F-53FB-5BCA-5552-90518C40AA96}"/>
              </a:ext>
            </a:extLst>
          </p:cNvPr>
          <p:cNvPicPr>
            <a:picLocks noChangeAspect="1"/>
          </p:cNvPicPr>
          <p:nvPr/>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0B560426-0D48-F863-9906-C6DB8E8894E4}"/>
              </a:ext>
            </a:extLst>
          </p:cNvPr>
          <p:cNvSpPr>
            <a:spLocks noGrp="1"/>
          </p:cNvSpPr>
          <p:nvPr>
            <p:ph type="title" hasCustomPrompt="1"/>
          </p:nvPr>
        </p:nvSpPr>
        <p:spPr>
          <a:xfrm>
            <a:off x="1059909" y="2077281"/>
            <a:ext cx="2342853" cy="2504658"/>
          </a:xfrm>
          <a:prstGeom prst="rect">
            <a:avLst/>
          </a:prstGeom>
        </p:spPr>
        <p:txBody>
          <a:bodyPr anchor="ctr"/>
          <a:lstStyle>
            <a:lvl1pPr algn="ctr">
              <a:defRPr sz="4000"/>
            </a:lvl1pPr>
          </a:lstStyle>
          <a:p>
            <a:r>
              <a:rPr lang="en-US"/>
              <a:t>Agenda</a:t>
            </a:r>
          </a:p>
        </p:txBody>
      </p:sp>
      <p:sp>
        <p:nvSpPr>
          <p:cNvPr id="6" name="Content Placeholder 2">
            <a:extLst>
              <a:ext uri="{FF2B5EF4-FFF2-40B4-BE49-F238E27FC236}">
                <a16:creationId xmlns:a16="http://schemas.microsoft.com/office/drawing/2014/main" id="{6123E599-B5E6-CCDD-69C7-381FC329B7C7}"/>
              </a:ext>
            </a:extLst>
          </p:cNvPr>
          <p:cNvSpPr>
            <a:spLocks noGrp="1"/>
          </p:cNvSpPr>
          <p:nvPr>
            <p:ph sz="half" idx="1"/>
          </p:nvPr>
        </p:nvSpPr>
        <p:spPr>
          <a:xfrm>
            <a:off x="4165465" y="1153941"/>
            <a:ext cx="7263833" cy="4351338"/>
          </a:xfrm>
          <a:prstGeom prst="rect">
            <a:avLst/>
          </a:prstGeom>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Picture 1">
            <a:extLst>
              <a:ext uri="{FF2B5EF4-FFF2-40B4-BE49-F238E27FC236}">
                <a16:creationId xmlns:a16="http://schemas.microsoft.com/office/drawing/2014/main" id="{9D486853-5BAE-C8D7-3DF8-4309CC63BB1A}"/>
              </a:ext>
            </a:extLst>
          </p:cNvPr>
          <p:cNvPicPr>
            <a:picLocks noChangeAspect="1"/>
          </p:cNvPicPr>
          <p:nvPr/>
        </p:nvPicPr>
        <p:blipFill>
          <a:blip r:embed="rId2"/>
          <a:srcRect/>
          <a:stretch/>
        </p:blipFill>
        <p:spPr>
          <a:xfrm>
            <a:off x="0" y="0"/>
            <a:ext cx="12192000" cy="6858000"/>
          </a:xfrm>
          <a:prstGeom prst="rect">
            <a:avLst/>
          </a:prstGeom>
        </p:spPr>
      </p:pic>
    </p:spTree>
    <p:extLst>
      <p:ext uri="{BB962C8B-B14F-4D97-AF65-F5344CB8AC3E}">
        <p14:creationId xmlns:p14="http://schemas.microsoft.com/office/powerpoint/2010/main" val="195296765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DC1883-BC63-C8F3-7CE8-404540E6A2E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195470C-4E08-D384-227C-1960F7B62DF9}"/>
              </a:ext>
            </a:extLst>
          </p:cNvPr>
          <p:cNvSpPr>
            <a:spLocks noGrp="1"/>
          </p:cNvSpPr>
          <p:nvPr>
            <p:ph idx="1"/>
          </p:nvPr>
        </p:nvSpPr>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6268993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Obj" preserve="1">
  <p:cSld name="Two Content 0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5DAA86-D55E-878F-2117-02B21928FE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FA16C9A-DAEF-61A4-4C39-8FAD1A762217}"/>
              </a:ext>
            </a:extLst>
          </p:cNvPr>
          <p:cNvSpPr>
            <a:spLocks noGrp="1"/>
          </p:cNvSpPr>
          <p:nvPr>
            <p:ph sz="half" idx="1"/>
          </p:nvPr>
        </p:nvSpPr>
        <p:spPr>
          <a:xfrm>
            <a:off x="802619" y="1205836"/>
            <a:ext cx="4968744" cy="4656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022C836-C949-2A38-676F-EEBFA18F3F83}"/>
              </a:ext>
            </a:extLst>
          </p:cNvPr>
          <p:cNvSpPr>
            <a:spLocks noGrp="1"/>
          </p:cNvSpPr>
          <p:nvPr>
            <p:ph sz="half" idx="2"/>
          </p:nvPr>
        </p:nvSpPr>
        <p:spPr>
          <a:xfrm>
            <a:off x="6420637" y="1205836"/>
            <a:ext cx="4968744" cy="4656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8193081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ntent 0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5DAA86-D55E-878F-2117-02B21928FE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FA16C9A-DAEF-61A4-4C39-8FAD1A762217}"/>
              </a:ext>
            </a:extLst>
          </p:cNvPr>
          <p:cNvSpPr>
            <a:spLocks noGrp="1"/>
          </p:cNvSpPr>
          <p:nvPr>
            <p:ph sz="half" idx="1"/>
          </p:nvPr>
        </p:nvSpPr>
        <p:spPr>
          <a:xfrm>
            <a:off x="740837" y="1205836"/>
            <a:ext cx="3733091" cy="4656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8679322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ntent 0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5DAA86-D55E-878F-2117-02B21928FE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FA16C9A-DAEF-61A4-4C39-8FAD1A762217}"/>
              </a:ext>
            </a:extLst>
          </p:cNvPr>
          <p:cNvSpPr>
            <a:spLocks noGrp="1"/>
          </p:cNvSpPr>
          <p:nvPr>
            <p:ph sz="half" idx="1"/>
          </p:nvPr>
        </p:nvSpPr>
        <p:spPr>
          <a:xfrm>
            <a:off x="802619" y="1205836"/>
            <a:ext cx="4968744" cy="4656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6342203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wo Content 0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5DAA86-D55E-878F-2117-02B21928FE1F}"/>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C022C836-C949-2A38-676F-EEBFA18F3F83}"/>
              </a:ext>
            </a:extLst>
          </p:cNvPr>
          <p:cNvSpPr>
            <a:spLocks noGrp="1"/>
          </p:cNvSpPr>
          <p:nvPr>
            <p:ph sz="half" idx="2"/>
          </p:nvPr>
        </p:nvSpPr>
        <p:spPr>
          <a:xfrm>
            <a:off x="6420637" y="1205836"/>
            <a:ext cx="4968744" cy="4656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35014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ntent 05">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5DAA86-D55E-878F-2117-02B21928FE1F}"/>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C022C836-C949-2A38-676F-EEBFA18F3F83}"/>
              </a:ext>
            </a:extLst>
          </p:cNvPr>
          <p:cNvSpPr>
            <a:spLocks noGrp="1"/>
          </p:cNvSpPr>
          <p:nvPr>
            <p:ph sz="half" idx="2"/>
          </p:nvPr>
        </p:nvSpPr>
        <p:spPr>
          <a:xfrm>
            <a:off x="7718073" y="1205836"/>
            <a:ext cx="3733091" cy="4656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4126248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C6E209-587E-4B55-08C1-8E43B9BBB7F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9865959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6587866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Obj" preserve="1">
  <p:cSld name="Two Content 01">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47175A5-70EB-3EE7-4AF1-1F9B7624016D}"/>
              </a:ext>
            </a:extLst>
          </p:cNvPr>
          <p:cNvPicPr>
            <a:picLocks noChangeAspect="1"/>
          </p:cNvPicPr>
          <p:nvPr userDrawn="1"/>
        </p:nvPicPr>
        <p:blipFill>
          <a:blip r:embed="rId2"/>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2A5DAA86-D55E-878F-2117-02B21928FE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FA16C9A-DAEF-61A4-4C39-8FAD1A762217}"/>
              </a:ext>
            </a:extLst>
          </p:cNvPr>
          <p:cNvSpPr>
            <a:spLocks noGrp="1"/>
          </p:cNvSpPr>
          <p:nvPr>
            <p:ph sz="half" idx="1"/>
          </p:nvPr>
        </p:nvSpPr>
        <p:spPr>
          <a:xfrm>
            <a:off x="802619" y="1205836"/>
            <a:ext cx="4968744" cy="4656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022C836-C949-2A38-676F-EEBFA18F3F83}"/>
              </a:ext>
            </a:extLst>
          </p:cNvPr>
          <p:cNvSpPr>
            <a:spLocks noGrp="1"/>
          </p:cNvSpPr>
          <p:nvPr>
            <p:ph sz="half" idx="2"/>
          </p:nvPr>
        </p:nvSpPr>
        <p:spPr>
          <a:xfrm>
            <a:off x="6420637" y="1205836"/>
            <a:ext cx="4968744" cy="4656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5068748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EC582F5-2F19-89A4-A2C4-237ADE1D48DD}"/>
              </a:ext>
            </a:extLst>
          </p:cNvPr>
          <p:cNvPicPr>
            <a:picLocks noChangeAspect="1"/>
          </p:cNvPicPr>
          <p:nvPr userDrawn="1"/>
        </p:nvPicPr>
        <p:blipFill>
          <a:blip r:embed="rId2"/>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8C6E209-587E-4B55-08C1-8E43B9BBB7F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9429211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edia">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468BAE26-C488-8D9F-142E-284B121FBEF0}"/>
              </a:ext>
            </a:extLst>
          </p:cNvPr>
          <p:cNvPicPr>
            <a:picLocks noChangeAspect="1"/>
          </p:cNvPicPr>
          <p:nvPr/>
        </p:nvPicPr>
        <p:blipFill>
          <a:blip r:embed="rId2"/>
          <a:srcRect/>
          <a:stretch/>
        </p:blipFill>
        <p:spPr>
          <a:xfrm>
            <a:off x="0" y="0"/>
            <a:ext cx="12192000" cy="6858000"/>
          </a:xfrm>
          <a:prstGeom prst="rect">
            <a:avLst/>
          </a:prstGeom>
        </p:spPr>
      </p:pic>
      <p:sp>
        <p:nvSpPr>
          <p:cNvPr id="8" name="Title 1">
            <a:extLst>
              <a:ext uri="{FF2B5EF4-FFF2-40B4-BE49-F238E27FC236}">
                <a16:creationId xmlns:a16="http://schemas.microsoft.com/office/drawing/2014/main" id="{4F48A276-91BF-372A-F880-A1BBA681B22F}"/>
              </a:ext>
            </a:extLst>
          </p:cNvPr>
          <p:cNvSpPr>
            <a:spLocks noGrp="1"/>
          </p:cNvSpPr>
          <p:nvPr>
            <p:ph type="title"/>
          </p:nvPr>
        </p:nvSpPr>
        <p:spPr>
          <a:xfrm>
            <a:off x="554182" y="167664"/>
            <a:ext cx="11083636" cy="549257"/>
          </a:xfrm>
          <a:prstGeom prst="rect">
            <a:avLst/>
          </a:prstGeom>
        </p:spPr>
        <p:txBody>
          <a:bodyPr anchor="ctr"/>
          <a:lstStyle>
            <a:lvl1pPr>
              <a:defRPr sz="2800"/>
            </a:lvl1pPr>
          </a:lstStyle>
          <a:p>
            <a:r>
              <a:rPr lang="en-US"/>
              <a:t>Click to edit Master title style</a:t>
            </a:r>
          </a:p>
        </p:txBody>
      </p:sp>
      <p:pic>
        <p:nvPicPr>
          <p:cNvPr id="2" name="Picture 1">
            <a:extLst>
              <a:ext uri="{FF2B5EF4-FFF2-40B4-BE49-F238E27FC236}">
                <a16:creationId xmlns:a16="http://schemas.microsoft.com/office/drawing/2014/main" id="{2B8BD3B7-4153-4C91-684F-7797728B5C22}"/>
              </a:ext>
            </a:extLst>
          </p:cNvPr>
          <p:cNvPicPr>
            <a:picLocks noChangeAspect="1"/>
          </p:cNvPicPr>
          <p:nvPr/>
        </p:nvPicPr>
        <p:blipFill>
          <a:blip r:embed="rId2"/>
          <a:srcRect/>
          <a:stretch/>
        </p:blipFill>
        <p:spPr>
          <a:xfrm>
            <a:off x="0" y="0"/>
            <a:ext cx="12192000" cy="6858000"/>
          </a:xfrm>
          <a:prstGeom prst="rect">
            <a:avLst/>
          </a:prstGeom>
        </p:spPr>
      </p:pic>
    </p:spTree>
    <p:extLst>
      <p:ext uri="{BB962C8B-B14F-4D97-AF65-F5344CB8AC3E}">
        <p14:creationId xmlns:p14="http://schemas.microsoft.com/office/powerpoint/2010/main" val="376702640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BCCD6C5-F367-F7E5-DCAC-36C3F367D068}"/>
              </a:ext>
            </a:extLst>
          </p:cNvPr>
          <p:cNvPicPr>
            <a:picLocks noChangeAspect="1"/>
          </p:cNvPicPr>
          <p:nvPr userDrawn="1"/>
        </p:nvPicPr>
        <p:blipFill>
          <a:blip r:embed="rId2"/>
          <a:srcRect/>
          <a:stretch/>
        </p:blipFill>
        <p:spPr>
          <a:xfrm>
            <a:off x="0" y="0"/>
            <a:ext cx="12192000" cy="6858000"/>
          </a:xfrm>
          <a:prstGeom prst="rect">
            <a:avLst/>
          </a:prstGeom>
        </p:spPr>
      </p:pic>
    </p:spTree>
    <p:extLst>
      <p:ext uri="{BB962C8B-B14F-4D97-AF65-F5344CB8AC3E}">
        <p14:creationId xmlns:p14="http://schemas.microsoft.com/office/powerpoint/2010/main" val="42252596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Obj" preserve="1">
  <p:cSld name="Two Content 01">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47175A5-70EB-3EE7-4AF1-1F9B7624016D}"/>
              </a:ext>
            </a:extLst>
          </p:cNvPr>
          <p:cNvPicPr>
            <a:picLocks noChangeAspect="1"/>
          </p:cNvPicPr>
          <p:nvPr/>
        </p:nvPicPr>
        <p:blipFill>
          <a:blip r:embed="rId2"/>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2A5DAA86-D55E-878F-2117-02B21928FE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FA16C9A-DAEF-61A4-4C39-8FAD1A762217}"/>
              </a:ext>
            </a:extLst>
          </p:cNvPr>
          <p:cNvSpPr>
            <a:spLocks noGrp="1"/>
          </p:cNvSpPr>
          <p:nvPr>
            <p:ph sz="half" idx="1"/>
          </p:nvPr>
        </p:nvSpPr>
        <p:spPr>
          <a:xfrm>
            <a:off x="802619" y="1205836"/>
            <a:ext cx="4968744" cy="4656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022C836-C949-2A38-676F-EEBFA18F3F83}"/>
              </a:ext>
            </a:extLst>
          </p:cNvPr>
          <p:cNvSpPr>
            <a:spLocks noGrp="1"/>
          </p:cNvSpPr>
          <p:nvPr>
            <p:ph sz="half" idx="2"/>
          </p:nvPr>
        </p:nvSpPr>
        <p:spPr>
          <a:xfrm>
            <a:off x="6420637" y="1205836"/>
            <a:ext cx="4968744" cy="4656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1368220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EC582F5-2F19-89A4-A2C4-237ADE1D48DD}"/>
              </a:ext>
            </a:extLst>
          </p:cNvPr>
          <p:cNvPicPr>
            <a:picLocks noChangeAspect="1"/>
          </p:cNvPicPr>
          <p:nvPr/>
        </p:nvPicPr>
        <p:blipFill>
          <a:blip r:embed="rId2"/>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8C6E209-587E-4B55-08C1-8E43B9BBB7F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879944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BCCD6C5-F367-F7E5-DCAC-36C3F367D068}"/>
              </a:ext>
            </a:extLst>
          </p:cNvPr>
          <p:cNvPicPr>
            <a:picLocks noChangeAspect="1"/>
          </p:cNvPicPr>
          <p:nvPr/>
        </p:nvPicPr>
        <p:blipFill>
          <a:blip r:embed="rId2"/>
          <a:srcRect/>
          <a:stretch/>
        </p:blipFill>
        <p:spPr>
          <a:xfrm>
            <a:off x="0" y="0"/>
            <a:ext cx="12192000" cy="6858000"/>
          </a:xfrm>
          <a:prstGeom prst="rect">
            <a:avLst/>
          </a:prstGeom>
        </p:spPr>
      </p:pic>
    </p:spTree>
    <p:extLst>
      <p:ext uri="{BB962C8B-B14F-4D97-AF65-F5344CB8AC3E}">
        <p14:creationId xmlns:p14="http://schemas.microsoft.com/office/powerpoint/2010/main" val="31846739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ransitio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F2CCA3C-9B4A-C942-D532-A9CE54FC3965}"/>
              </a:ext>
            </a:extLst>
          </p:cNvPr>
          <p:cNvPicPr>
            <a:picLocks noChangeAspect="1"/>
          </p:cNvPicPr>
          <p:nvPr/>
        </p:nvPicPr>
        <p:blipFill>
          <a:blip r:embed="rId2"/>
          <a:srcRect/>
          <a:stretch/>
        </p:blipFill>
        <p:spPr>
          <a:xfrm>
            <a:off x="0" y="0"/>
            <a:ext cx="12192000" cy="6858000"/>
          </a:xfrm>
          <a:prstGeom prst="rect">
            <a:avLst/>
          </a:prstGeom>
        </p:spPr>
      </p:pic>
      <p:pic>
        <p:nvPicPr>
          <p:cNvPr id="2" name="Picture 1">
            <a:extLst>
              <a:ext uri="{FF2B5EF4-FFF2-40B4-BE49-F238E27FC236}">
                <a16:creationId xmlns:a16="http://schemas.microsoft.com/office/drawing/2014/main" id="{7040ADF3-8A3A-ACD4-505D-6DFD8827D6E5}"/>
              </a:ext>
            </a:extLst>
          </p:cNvPr>
          <p:cNvPicPr>
            <a:picLocks noChangeAspect="1"/>
          </p:cNvPicPr>
          <p:nvPr/>
        </p:nvPicPr>
        <p:blipFill>
          <a:blip r:embed="rId2"/>
          <a:srcRect/>
          <a:stretch/>
        </p:blipFill>
        <p:spPr>
          <a:xfrm>
            <a:off x="0" y="0"/>
            <a:ext cx="12192000" cy="6858000"/>
          </a:xfrm>
          <a:prstGeom prst="rect">
            <a:avLst/>
          </a:prstGeom>
        </p:spPr>
      </p:pic>
    </p:spTree>
    <p:extLst>
      <p:ext uri="{BB962C8B-B14F-4D97-AF65-F5344CB8AC3E}">
        <p14:creationId xmlns:p14="http://schemas.microsoft.com/office/powerpoint/2010/main" val="29140948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1_Title Slide 0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BDE19B3-822A-5314-2822-F695BC77A962}"/>
              </a:ext>
            </a:extLst>
          </p:cNvPr>
          <p:cNvPicPr>
            <a:picLocks noChangeAspect="1"/>
          </p:cNvPicPr>
          <p:nvPr/>
        </p:nvPicPr>
        <p:blipFill>
          <a:blip r:embed="rId2"/>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4E4C80B-FE3B-111B-89D6-619FA4498FF1}"/>
              </a:ext>
            </a:extLst>
          </p:cNvPr>
          <p:cNvSpPr>
            <a:spLocks noGrp="1"/>
          </p:cNvSpPr>
          <p:nvPr>
            <p:ph type="ctrTitle"/>
          </p:nvPr>
        </p:nvSpPr>
        <p:spPr>
          <a:xfrm>
            <a:off x="4274923" y="2135810"/>
            <a:ext cx="6792859" cy="2387600"/>
          </a:xfrm>
          <a:prstGeom prst="rect">
            <a:avLst/>
          </a:prstGeom>
        </p:spPr>
        <p:txBody>
          <a:bodyPr anchor="ctr">
            <a:normAutofit/>
          </a:bodyPr>
          <a:lstStyle>
            <a:lvl1pPr algn="ctr">
              <a:defRPr sz="4000">
                <a:solidFill>
                  <a:srgbClr val="0A3360"/>
                </a:solidFill>
              </a:defRPr>
            </a:lvl1pPr>
          </a:lstStyle>
          <a:p>
            <a:r>
              <a:rPr lang="en-US"/>
              <a:t>Click to edit Master title style</a:t>
            </a:r>
          </a:p>
        </p:txBody>
      </p:sp>
    </p:spTree>
    <p:extLst>
      <p:ext uri="{BB962C8B-B14F-4D97-AF65-F5344CB8AC3E}">
        <p14:creationId xmlns:p14="http://schemas.microsoft.com/office/powerpoint/2010/main" val="143280513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1_Section Header 01">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95A4CD4-F10C-8217-3EA2-A9CB78B83F6A}"/>
              </a:ext>
            </a:extLst>
          </p:cNvPr>
          <p:cNvPicPr>
            <a:picLocks noChangeAspect="1"/>
          </p:cNvPicPr>
          <p:nvPr/>
        </p:nvPicPr>
        <p:blipFill>
          <a:blip r:embed="rId2"/>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6940CD94-8693-6815-33D5-F6AD9A9FA331}"/>
              </a:ext>
            </a:extLst>
          </p:cNvPr>
          <p:cNvSpPr>
            <a:spLocks noGrp="1"/>
          </p:cNvSpPr>
          <p:nvPr>
            <p:ph type="title"/>
          </p:nvPr>
        </p:nvSpPr>
        <p:spPr>
          <a:xfrm>
            <a:off x="831850" y="2355381"/>
            <a:ext cx="10515600" cy="1948458"/>
          </a:xfrm>
          <a:prstGeom prst="rect">
            <a:avLst/>
          </a:prstGeom>
        </p:spPr>
        <p:txBody>
          <a:bodyPr anchor="ctr">
            <a:normAutofit/>
          </a:bodyPr>
          <a:lstStyle>
            <a:lvl1pPr algn="ctr">
              <a:defRPr sz="4000">
                <a:solidFill>
                  <a:srgbClr val="0A3360"/>
                </a:solidFill>
              </a:defRPr>
            </a:lvl1pPr>
          </a:lstStyle>
          <a:p>
            <a:r>
              <a:rPr lang="en-US"/>
              <a:t>Click to edit Master title style</a:t>
            </a:r>
          </a:p>
        </p:txBody>
      </p:sp>
    </p:spTree>
    <p:extLst>
      <p:ext uri="{BB962C8B-B14F-4D97-AF65-F5344CB8AC3E}">
        <p14:creationId xmlns:p14="http://schemas.microsoft.com/office/powerpoint/2010/main" val="63754456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1_Agenda">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25AA03F-53FB-5BCA-5552-90518C40AA96}"/>
              </a:ext>
            </a:extLst>
          </p:cNvPr>
          <p:cNvPicPr>
            <a:picLocks noChangeAspect="1"/>
          </p:cNvPicPr>
          <p:nvPr/>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0B560426-0D48-F863-9906-C6DB8E8894E4}"/>
              </a:ext>
            </a:extLst>
          </p:cNvPr>
          <p:cNvSpPr>
            <a:spLocks noGrp="1"/>
          </p:cNvSpPr>
          <p:nvPr>
            <p:ph type="title" hasCustomPrompt="1"/>
          </p:nvPr>
        </p:nvSpPr>
        <p:spPr>
          <a:xfrm>
            <a:off x="1059909" y="2077281"/>
            <a:ext cx="2342853" cy="2504658"/>
          </a:xfrm>
          <a:prstGeom prst="rect">
            <a:avLst/>
          </a:prstGeom>
        </p:spPr>
        <p:txBody>
          <a:bodyPr anchor="ctr"/>
          <a:lstStyle>
            <a:lvl1pPr algn="ctr">
              <a:defRPr sz="4000"/>
            </a:lvl1pPr>
          </a:lstStyle>
          <a:p>
            <a:r>
              <a:rPr lang="en-US"/>
              <a:t>Agenda</a:t>
            </a:r>
          </a:p>
        </p:txBody>
      </p:sp>
      <p:sp>
        <p:nvSpPr>
          <p:cNvPr id="6" name="Content Placeholder 2">
            <a:extLst>
              <a:ext uri="{FF2B5EF4-FFF2-40B4-BE49-F238E27FC236}">
                <a16:creationId xmlns:a16="http://schemas.microsoft.com/office/drawing/2014/main" id="{6123E599-B5E6-CCDD-69C7-381FC329B7C7}"/>
              </a:ext>
            </a:extLst>
          </p:cNvPr>
          <p:cNvSpPr>
            <a:spLocks noGrp="1"/>
          </p:cNvSpPr>
          <p:nvPr>
            <p:ph sz="half" idx="1"/>
          </p:nvPr>
        </p:nvSpPr>
        <p:spPr>
          <a:xfrm>
            <a:off x="4165465" y="1153941"/>
            <a:ext cx="7263833" cy="4351338"/>
          </a:xfrm>
          <a:prstGeom prst="rect">
            <a:avLst/>
          </a:prstGeom>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3150259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3" Type="http://schemas.openxmlformats.org/officeDocument/2006/relationships/slideLayout" Target="../slideLayouts/slideLayout18.xml"/><Relationship Id="rId7" Type="http://schemas.openxmlformats.org/officeDocument/2006/relationships/slideLayout" Target="../slideLayouts/slideLayout22.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5" Type="http://schemas.openxmlformats.org/officeDocument/2006/relationships/slideLayout" Target="../slideLayouts/slideLayout20.xml"/><Relationship Id="rId10" Type="http://schemas.openxmlformats.org/officeDocument/2006/relationships/image" Target="../media/image9.png"/><Relationship Id="rId4" Type="http://schemas.openxmlformats.org/officeDocument/2006/relationships/slideLayout" Target="../slideLayouts/slideLayout19.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3" Type="http://schemas.openxmlformats.org/officeDocument/2006/relationships/slideLayout" Target="../slideLayouts/slideLayout26.xml"/><Relationship Id="rId7" Type="http://schemas.openxmlformats.org/officeDocument/2006/relationships/slideLayout" Target="../slideLayouts/slideLayout30.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5" Type="http://schemas.openxmlformats.org/officeDocument/2006/relationships/slideLayout" Target="../slideLayouts/slideLayout28.xml"/><Relationship Id="rId10" Type="http://schemas.openxmlformats.org/officeDocument/2006/relationships/image" Target="../media/image10.png"/><Relationship Id="rId4" Type="http://schemas.openxmlformats.org/officeDocument/2006/relationships/slideLayout" Target="../slideLayouts/slideLayout27.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9.xml"/><Relationship Id="rId3" Type="http://schemas.openxmlformats.org/officeDocument/2006/relationships/slideLayout" Target="../slideLayouts/slideLayout34.xml"/><Relationship Id="rId7" Type="http://schemas.openxmlformats.org/officeDocument/2006/relationships/slideLayout" Target="../slideLayouts/slideLayout38.xml"/><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5" Type="http://schemas.openxmlformats.org/officeDocument/2006/relationships/slideLayout" Target="../slideLayouts/slideLayout36.xml"/><Relationship Id="rId10" Type="http://schemas.openxmlformats.org/officeDocument/2006/relationships/image" Target="../media/image11.png"/><Relationship Id="rId4" Type="http://schemas.openxmlformats.org/officeDocument/2006/relationships/slideLayout" Target="../slideLayouts/slideLayout35.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7.xml"/><Relationship Id="rId3" Type="http://schemas.openxmlformats.org/officeDocument/2006/relationships/slideLayout" Target="../slideLayouts/slideLayout42.xml"/><Relationship Id="rId7" Type="http://schemas.openxmlformats.org/officeDocument/2006/relationships/slideLayout" Target="../slideLayouts/slideLayout46.xml"/><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5" Type="http://schemas.openxmlformats.org/officeDocument/2006/relationships/slideLayout" Target="../slideLayouts/slideLayout44.xml"/><Relationship Id="rId10" Type="http://schemas.openxmlformats.org/officeDocument/2006/relationships/image" Target="../media/image12.png"/><Relationship Id="rId4" Type="http://schemas.openxmlformats.org/officeDocument/2006/relationships/slideLayout" Target="../slideLayouts/slideLayout43.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50.xml"/><Relationship Id="rId2" Type="http://schemas.openxmlformats.org/officeDocument/2006/relationships/slideLayout" Target="../slideLayouts/slideLayout49.xml"/><Relationship Id="rId1" Type="http://schemas.openxmlformats.org/officeDocument/2006/relationships/slideLayout" Target="../slideLayouts/slideLayout48.xml"/><Relationship Id="rId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53.xml"/><Relationship Id="rId2" Type="http://schemas.openxmlformats.org/officeDocument/2006/relationships/slideLayout" Target="../slideLayouts/slideLayout52.xml"/><Relationship Id="rId1" Type="http://schemas.openxmlformats.org/officeDocument/2006/relationships/slideLayout" Target="../slideLayouts/slideLayout51.xml"/><Relationship Id="rId4" Type="http://schemas.openxmlformats.org/officeDocument/2006/relationships/theme" Target="../theme/theme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37393601"/>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 id="2147483685" r:id="rId8"/>
    <p:sldLayoutId id="2147483686" r:id="rId9"/>
    <p:sldLayoutId id="2147483687" r:id="rId10"/>
    <p:sldLayoutId id="2147483688" r:id="rId11"/>
    <p:sldLayoutId id="2147483689" r:id="rId12"/>
    <p:sldLayoutId id="2147483690" r:id="rId13"/>
    <p:sldLayoutId id="2147483691" r:id="rId14"/>
    <p:sldLayoutId id="2147483692" r:id="rId15"/>
  </p:sldLayoutIdLst>
  <p:txStyles>
    <p:titleStyle>
      <a:lvl1pPr algn="l" defTabSz="914400" rtl="0" eaLnBrk="1" latinLnBrk="0" hangingPunct="1">
        <a:lnSpc>
          <a:spcPct val="90000"/>
        </a:lnSpc>
        <a:spcBef>
          <a:spcPct val="0"/>
        </a:spcBef>
        <a:buNone/>
        <a:defRPr sz="4400" kern="1200">
          <a:solidFill>
            <a:srgbClr val="0A3360"/>
          </a:solidFill>
          <a:latin typeface="96 Sans" panose="020C0504020203020204" pitchFamily="34" charset="77"/>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0A3360"/>
          </a:solidFill>
          <a:latin typeface="96 Sans" panose="020C0504020203020204"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0A3360"/>
          </a:solidFill>
          <a:latin typeface="96 Sans" panose="020C0504020203020204" pitchFamily="34"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0A3360"/>
          </a:solidFill>
          <a:latin typeface="96 Sans" panose="020C0504020203020204" pitchFamily="34"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0A3360"/>
          </a:solidFill>
          <a:latin typeface="96 Sans" panose="020C0504020203020204" pitchFamily="34"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0A3360"/>
          </a:solidFill>
          <a:latin typeface="96 Sans" panose="020C0504020203020204"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582549A-3747-743E-F591-C4A9E80F3755}"/>
              </a:ext>
            </a:extLst>
          </p:cNvPr>
          <p:cNvPicPr>
            <a:picLocks noChangeAspect="1"/>
          </p:cNvPicPr>
          <p:nvPr/>
        </p:nvPicPr>
        <p:blipFill>
          <a:blip r:embed="rId10"/>
          <a:srcRect/>
          <a:stretch/>
        </p:blipFill>
        <p:spPr>
          <a:xfrm>
            <a:off x="0" y="0"/>
            <a:ext cx="12192000" cy="6858000"/>
          </a:xfrm>
          <a:prstGeom prst="rect">
            <a:avLst/>
          </a:prstGeom>
        </p:spPr>
      </p:pic>
      <p:sp>
        <p:nvSpPr>
          <p:cNvPr id="2" name="Title Placeholder 1">
            <a:extLst>
              <a:ext uri="{FF2B5EF4-FFF2-40B4-BE49-F238E27FC236}">
                <a16:creationId xmlns:a16="http://schemas.microsoft.com/office/drawing/2014/main" id="{C6197A55-EB65-1235-5183-417295F9A407}"/>
              </a:ext>
            </a:extLst>
          </p:cNvPr>
          <p:cNvSpPr>
            <a:spLocks noGrp="1"/>
          </p:cNvSpPr>
          <p:nvPr>
            <p:ph type="title"/>
          </p:nvPr>
        </p:nvSpPr>
        <p:spPr>
          <a:xfrm>
            <a:off x="554182" y="167664"/>
            <a:ext cx="11083636" cy="549257"/>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8A046DF3-603B-04D6-B13F-B22A225555E3}"/>
              </a:ext>
            </a:extLst>
          </p:cNvPr>
          <p:cNvSpPr>
            <a:spLocks noGrp="1"/>
          </p:cNvSpPr>
          <p:nvPr>
            <p:ph type="body" idx="1"/>
          </p:nvPr>
        </p:nvSpPr>
        <p:spPr>
          <a:xfrm>
            <a:off x="554182" y="1203251"/>
            <a:ext cx="11083636" cy="4631707"/>
          </a:xfrm>
          <a:prstGeom prst="rect">
            <a:avLst/>
          </a:prstGeom>
        </p:spPr>
        <p:txBody>
          <a:bodyPr vert="horz" lIns="91440" tIns="45720" rIns="91440" bIns="45720" rtlCol="0" anchor="ct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54538424"/>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 id="2147483702" r:id="rId8"/>
  </p:sldLayoutIdLst>
  <p:txStyles>
    <p:titleStyle>
      <a:lvl1pPr algn="l" defTabSz="914400" rtl="0" eaLnBrk="1" latinLnBrk="0" hangingPunct="1">
        <a:lnSpc>
          <a:spcPct val="90000"/>
        </a:lnSpc>
        <a:spcBef>
          <a:spcPct val="0"/>
        </a:spcBef>
        <a:buNone/>
        <a:defRPr sz="2800" kern="1200">
          <a:solidFill>
            <a:srgbClr val="0A3360"/>
          </a:solidFill>
          <a:latin typeface="96 Sans" panose="020C0504020203020204" pitchFamily="34" charset="77"/>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0A3360"/>
          </a:solidFill>
          <a:latin typeface="96 Sans" panose="020C0504020203020204"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0A3360"/>
          </a:solidFill>
          <a:latin typeface="96 Sans" panose="020C0504020203020204" pitchFamily="34"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0A3360"/>
          </a:solidFill>
          <a:latin typeface="96 Sans" panose="020C0504020203020204" pitchFamily="34"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0A3360"/>
          </a:solidFill>
          <a:latin typeface="96 Sans" panose="020C0504020203020204" pitchFamily="34"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0A3360"/>
          </a:solidFill>
          <a:latin typeface="96 Sans" panose="020C0504020203020204"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4305FCB5-1511-5DB7-93A4-B8DB3FE0B62D}"/>
              </a:ext>
            </a:extLst>
          </p:cNvPr>
          <p:cNvPicPr>
            <a:picLocks noChangeAspect="1"/>
          </p:cNvPicPr>
          <p:nvPr/>
        </p:nvPicPr>
        <p:blipFill>
          <a:blip r:embed="rId10"/>
          <a:srcRect/>
          <a:stretch/>
        </p:blipFill>
        <p:spPr>
          <a:xfrm>
            <a:off x="0" y="0"/>
            <a:ext cx="12192000" cy="6858000"/>
          </a:xfrm>
          <a:prstGeom prst="rect">
            <a:avLst/>
          </a:prstGeom>
        </p:spPr>
      </p:pic>
      <p:sp>
        <p:nvSpPr>
          <p:cNvPr id="2" name="Title Placeholder 1">
            <a:extLst>
              <a:ext uri="{FF2B5EF4-FFF2-40B4-BE49-F238E27FC236}">
                <a16:creationId xmlns:a16="http://schemas.microsoft.com/office/drawing/2014/main" id="{C6197A55-EB65-1235-5183-417295F9A407}"/>
              </a:ext>
            </a:extLst>
          </p:cNvPr>
          <p:cNvSpPr>
            <a:spLocks noGrp="1"/>
          </p:cNvSpPr>
          <p:nvPr>
            <p:ph type="title"/>
          </p:nvPr>
        </p:nvSpPr>
        <p:spPr>
          <a:xfrm>
            <a:off x="554182" y="167664"/>
            <a:ext cx="11083636" cy="549257"/>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8A046DF3-603B-04D6-B13F-B22A225555E3}"/>
              </a:ext>
            </a:extLst>
          </p:cNvPr>
          <p:cNvSpPr>
            <a:spLocks noGrp="1"/>
          </p:cNvSpPr>
          <p:nvPr>
            <p:ph type="body" idx="1"/>
          </p:nvPr>
        </p:nvSpPr>
        <p:spPr>
          <a:xfrm>
            <a:off x="554182" y="1203251"/>
            <a:ext cx="11083636" cy="4631707"/>
          </a:xfrm>
          <a:prstGeom prst="rect">
            <a:avLst/>
          </a:prstGeom>
        </p:spPr>
        <p:txBody>
          <a:bodyPr vert="horz" lIns="91440" tIns="45720" rIns="91440" bIns="45720" rtlCol="0" anchor="ct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7532456"/>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Lst>
  <p:txStyles>
    <p:titleStyle>
      <a:lvl1pPr algn="l" defTabSz="914400" rtl="0" eaLnBrk="1" latinLnBrk="0" hangingPunct="1">
        <a:lnSpc>
          <a:spcPct val="90000"/>
        </a:lnSpc>
        <a:spcBef>
          <a:spcPct val="0"/>
        </a:spcBef>
        <a:buNone/>
        <a:defRPr sz="2800" b="1" kern="1200">
          <a:solidFill>
            <a:srgbClr val="0A3360"/>
          </a:solidFill>
          <a:latin typeface="96 Sans" panose="020C0504020203020204" pitchFamily="34" charset="77"/>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0A3360"/>
          </a:solidFill>
          <a:latin typeface="96 Sans" panose="020C0504020203020204"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0A3360"/>
          </a:solidFill>
          <a:latin typeface="96 Sans" panose="020C0504020203020204" pitchFamily="34"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0A3360"/>
          </a:solidFill>
          <a:latin typeface="96 Sans" panose="020C0504020203020204" pitchFamily="34"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0A3360"/>
          </a:solidFill>
          <a:latin typeface="96 Sans" panose="020C0504020203020204" pitchFamily="34"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0A3360"/>
          </a:solidFill>
          <a:latin typeface="96 Sans" panose="020C0504020203020204"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1ED1092-5D74-38BE-02C9-5EA10102FBE8}"/>
              </a:ext>
            </a:extLst>
          </p:cNvPr>
          <p:cNvPicPr>
            <a:picLocks noChangeAspect="1"/>
          </p:cNvPicPr>
          <p:nvPr/>
        </p:nvPicPr>
        <p:blipFill>
          <a:blip r:embed="rId10"/>
          <a:srcRect/>
          <a:stretch/>
        </p:blipFill>
        <p:spPr>
          <a:xfrm>
            <a:off x="0" y="0"/>
            <a:ext cx="12192000" cy="6858000"/>
          </a:xfrm>
          <a:prstGeom prst="rect">
            <a:avLst/>
          </a:prstGeom>
        </p:spPr>
      </p:pic>
      <p:sp>
        <p:nvSpPr>
          <p:cNvPr id="2" name="Title Placeholder 1">
            <a:extLst>
              <a:ext uri="{FF2B5EF4-FFF2-40B4-BE49-F238E27FC236}">
                <a16:creationId xmlns:a16="http://schemas.microsoft.com/office/drawing/2014/main" id="{C6197A55-EB65-1235-5183-417295F9A407}"/>
              </a:ext>
            </a:extLst>
          </p:cNvPr>
          <p:cNvSpPr>
            <a:spLocks noGrp="1"/>
          </p:cNvSpPr>
          <p:nvPr>
            <p:ph type="title"/>
          </p:nvPr>
        </p:nvSpPr>
        <p:spPr>
          <a:xfrm>
            <a:off x="554182" y="167664"/>
            <a:ext cx="11083636" cy="549257"/>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8A046DF3-603B-04D6-B13F-B22A225555E3}"/>
              </a:ext>
            </a:extLst>
          </p:cNvPr>
          <p:cNvSpPr>
            <a:spLocks noGrp="1"/>
          </p:cNvSpPr>
          <p:nvPr>
            <p:ph type="body" idx="1"/>
          </p:nvPr>
        </p:nvSpPr>
        <p:spPr>
          <a:xfrm>
            <a:off x="554182" y="1203251"/>
            <a:ext cx="11083636" cy="4631707"/>
          </a:xfrm>
          <a:prstGeom prst="rect">
            <a:avLst/>
          </a:prstGeom>
        </p:spPr>
        <p:txBody>
          <a:bodyPr vert="horz" lIns="91440" tIns="45720" rIns="91440" bIns="45720" rtlCol="0" anchor="ct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5427177"/>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Lst>
  <p:txStyles>
    <p:titleStyle>
      <a:lvl1pPr algn="l" defTabSz="914400" rtl="0" eaLnBrk="1" latinLnBrk="0" hangingPunct="1">
        <a:lnSpc>
          <a:spcPct val="90000"/>
        </a:lnSpc>
        <a:spcBef>
          <a:spcPct val="0"/>
        </a:spcBef>
        <a:buNone/>
        <a:defRPr sz="2800" kern="1200">
          <a:solidFill>
            <a:srgbClr val="0A3360"/>
          </a:solidFill>
          <a:latin typeface="96 Sans" panose="020C0504020203020204" pitchFamily="34" charset="77"/>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0A3360"/>
          </a:solidFill>
          <a:latin typeface="96 Sans" panose="020C0504020203020204"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0A3360"/>
          </a:solidFill>
          <a:latin typeface="96 Sans" panose="020C0504020203020204" pitchFamily="34"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0A3360"/>
          </a:solidFill>
          <a:latin typeface="96 Sans" panose="020C0504020203020204" pitchFamily="34"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0A3360"/>
          </a:solidFill>
          <a:latin typeface="96 Sans" panose="020C0504020203020204" pitchFamily="34"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0A3360"/>
          </a:solidFill>
          <a:latin typeface="96 Sans" panose="020C0504020203020204"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1ED1092-5D74-38BE-02C9-5EA10102FBE8}"/>
              </a:ext>
            </a:extLst>
          </p:cNvPr>
          <p:cNvPicPr>
            <a:picLocks noChangeAspect="1"/>
          </p:cNvPicPr>
          <p:nvPr/>
        </p:nvPicPr>
        <p:blipFill>
          <a:blip r:embed="rId10"/>
          <a:srcRect/>
          <a:stretch/>
        </p:blipFill>
        <p:spPr>
          <a:xfrm>
            <a:off x="0" y="0"/>
            <a:ext cx="12192000" cy="6858000"/>
          </a:xfrm>
          <a:prstGeom prst="rect">
            <a:avLst/>
          </a:prstGeom>
        </p:spPr>
      </p:pic>
      <p:sp>
        <p:nvSpPr>
          <p:cNvPr id="2" name="Title Placeholder 1">
            <a:extLst>
              <a:ext uri="{FF2B5EF4-FFF2-40B4-BE49-F238E27FC236}">
                <a16:creationId xmlns:a16="http://schemas.microsoft.com/office/drawing/2014/main" id="{C6197A55-EB65-1235-5183-417295F9A407}"/>
              </a:ext>
            </a:extLst>
          </p:cNvPr>
          <p:cNvSpPr>
            <a:spLocks noGrp="1"/>
          </p:cNvSpPr>
          <p:nvPr>
            <p:ph type="title"/>
          </p:nvPr>
        </p:nvSpPr>
        <p:spPr>
          <a:xfrm>
            <a:off x="554182" y="167664"/>
            <a:ext cx="11083636" cy="549257"/>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8A046DF3-603B-04D6-B13F-B22A225555E3}"/>
              </a:ext>
            </a:extLst>
          </p:cNvPr>
          <p:cNvSpPr>
            <a:spLocks noGrp="1"/>
          </p:cNvSpPr>
          <p:nvPr>
            <p:ph type="body" idx="1"/>
          </p:nvPr>
        </p:nvSpPr>
        <p:spPr>
          <a:xfrm>
            <a:off x="554182" y="1203251"/>
            <a:ext cx="11083636" cy="4631707"/>
          </a:xfrm>
          <a:prstGeom prst="rect">
            <a:avLst/>
          </a:prstGeom>
        </p:spPr>
        <p:txBody>
          <a:bodyPr vert="horz" lIns="91440" tIns="45720" rIns="91440" bIns="45720" rtlCol="0" anchor="ct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7372698"/>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6" r:id="rId5"/>
    <p:sldLayoutId id="2147483727" r:id="rId6"/>
    <p:sldLayoutId id="2147483728" r:id="rId7"/>
    <p:sldLayoutId id="2147483729" r:id="rId8"/>
  </p:sldLayoutIdLst>
  <p:txStyles>
    <p:titleStyle>
      <a:lvl1pPr algn="l" defTabSz="914400" rtl="0" eaLnBrk="1" latinLnBrk="0" hangingPunct="1">
        <a:lnSpc>
          <a:spcPct val="90000"/>
        </a:lnSpc>
        <a:spcBef>
          <a:spcPct val="0"/>
        </a:spcBef>
        <a:buNone/>
        <a:defRPr sz="2800" kern="1200">
          <a:solidFill>
            <a:srgbClr val="0A3360"/>
          </a:solidFill>
          <a:latin typeface="96 Sans" panose="020C0504020203020204" pitchFamily="34" charset="77"/>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0A3360"/>
          </a:solidFill>
          <a:latin typeface="96 Sans" panose="020C0504020203020204"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0A3360"/>
          </a:solidFill>
          <a:latin typeface="96 Sans" panose="020C0504020203020204" pitchFamily="34"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0A3360"/>
          </a:solidFill>
          <a:latin typeface="96 Sans" panose="020C0504020203020204" pitchFamily="34"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0A3360"/>
          </a:solidFill>
          <a:latin typeface="96 Sans" panose="020C0504020203020204" pitchFamily="34"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0A3360"/>
          </a:solidFill>
          <a:latin typeface="96 Sans" panose="020C0504020203020204"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6197A55-EB65-1235-5183-417295F9A407}"/>
              </a:ext>
            </a:extLst>
          </p:cNvPr>
          <p:cNvSpPr>
            <a:spLocks noGrp="1"/>
          </p:cNvSpPr>
          <p:nvPr>
            <p:ph type="title"/>
          </p:nvPr>
        </p:nvSpPr>
        <p:spPr>
          <a:xfrm>
            <a:off x="554182" y="167664"/>
            <a:ext cx="11083636" cy="549257"/>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8A046DF3-603B-04D6-B13F-B22A225555E3}"/>
              </a:ext>
            </a:extLst>
          </p:cNvPr>
          <p:cNvSpPr>
            <a:spLocks noGrp="1"/>
          </p:cNvSpPr>
          <p:nvPr>
            <p:ph type="body" idx="1"/>
          </p:nvPr>
        </p:nvSpPr>
        <p:spPr>
          <a:xfrm>
            <a:off x="554182" y="1203251"/>
            <a:ext cx="11083636" cy="4631707"/>
          </a:xfrm>
          <a:prstGeom prst="rect">
            <a:avLst/>
          </a:prstGeom>
        </p:spPr>
        <p:txBody>
          <a:bodyPr vert="horz" lIns="91440" tIns="45720" rIns="91440" bIns="45720" rtlCol="0" anchor="ct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78748290"/>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Lst>
  <p:txStyles>
    <p:titleStyle>
      <a:lvl1pPr algn="l" defTabSz="914400" rtl="0" eaLnBrk="1" latinLnBrk="0" hangingPunct="1">
        <a:lnSpc>
          <a:spcPct val="90000"/>
        </a:lnSpc>
        <a:spcBef>
          <a:spcPct val="0"/>
        </a:spcBef>
        <a:buNone/>
        <a:defRPr sz="2800" kern="1200">
          <a:solidFill>
            <a:srgbClr val="0A3360"/>
          </a:solidFill>
          <a:latin typeface="96 Sans" panose="020C0504020203020204" pitchFamily="34" charset="77"/>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0A3360"/>
          </a:solidFill>
          <a:latin typeface="96 Sans" panose="020C0504020203020204"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0A3360"/>
          </a:solidFill>
          <a:latin typeface="96 Sans" panose="020C0504020203020204" pitchFamily="34"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0A3360"/>
          </a:solidFill>
          <a:latin typeface="96 Sans" panose="020C0504020203020204" pitchFamily="34"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0A3360"/>
          </a:solidFill>
          <a:latin typeface="96 Sans" panose="020C0504020203020204" pitchFamily="34"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0A3360"/>
          </a:solidFill>
          <a:latin typeface="96 Sans" panose="020C0504020203020204"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6197A55-EB65-1235-5183-417295F9A407}"/>
              </a:ext>
            </a:extLst>
          </p:cNvPr>
          <p:cNvSpPr>
            <a:spLocks noGrp="1"/>
          </p:cNvSpPr>
          <p:nvPr>
            <p:ph type="title"/>
          </p:nvPr>
        </p:nvSpPr>
        <p:spPr>
          <a:xfrm>
            <a:off x="554182" y="167664"/>
            <a:ext cx="11083636" cy="549257"/>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8A046DF3-603B-04D6-B13F-B22A225555E3}"/>
              </a:ext>
            </a:extLst>
          </p:cNvPr>
          <p:cNvSpPr>
            <a:spLocks noGrp="1"/>
          </p:cNvSpPr>
          <p:nvPr>
            <p:ph type="body" idx="1"/>
          </p:nvPr>
        </p:nvSpPr>
        <p:spPr>
          <a:xfrm>
            <a:off x="554182" y="1203251"/>
            <a:ext cx="11083636" cy="4631707"/>
          </a:xfrm>
          <a:prstGeom prst="rect">
            <a:avLst/>
          </a:prstGeom>
        </p:spPr>
        <p:txBody>
          <a:bodyPr vert="horz" lIns="91440" tIns="45720" rIns="91440" bIns="45720" rtlCol="0" anchor="ct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82993380"/>
      </p:ext>
    </p:extLst>
  </p:cSld>
  <p:clrMap bg1="lt1" tx1="dk1" bg2="lt2" tx2="dk2" accent1="accent1" accent2="accent2" accent3="accent3" accent4="accent4" accent5="accent5" accent6="accent6" hlink="hlink" folHlink="folHlink"/>
  <p:sldLayoutIdLst>
    <p:sldLayoutId id="2147483771" r:id="rId1"/>
    <p:sldLayoutId id="2147483772" r:id="rId2"/>
    <p:sldLayoutId id="2147483773" r:id="rId3"/>
  </p:sldLayoutIdLst>
  <p:txStyles>
    <p:titleStyle>
      <a:lvl1pPr algn="l" defTabSz="914400" rtl="0" eaLnBrk="1" latinLnBrk="0" hangingPunct="1">
        <a:lnSpc>
          <a:spcPct val="90000"/>
        </a:lnSpc>
        <a:spcBef>
          <a:spcPct val="0"/>
        </a:spcBef>
        <a:buNone/>
        <a:defRPr sz="2800" kern="1200">
          <a:solidFill>
            <a:srgbClr val="0A3360"/>
          </a:solidFill>
          <a:latin typeface="96 Sans" panose="020C0504020203020204" pitchFamily="34" charset="77"/>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0A3360"/>
          </a:solidFill>
          <a:latin typeface="96 Sans" panose="020C0504020203020204"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0A3360"/>
          </a:solidFill>
          <a:latin typeface="96 Sans" panose="020C0504020203020204" pitchFamily="34"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0A3360"/>
          </a:solidFill>
          <a:latin typeface="96 Sans" panose="020C0504020203020204" pitchFamily="34"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0A3360"/>
          </a:solidFill>
          <a:latin typeface="96 Sans" panose="020C0504020203020204" pitchFamily="34"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0A3360"/>
          </a:solidFill>
          <a:latin typeface="96 Sans" panose="020C0504020203020204"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hyperlink" Target="https://progressiveinsurance.sharepoint.com/sites/Enterprise%20Data%20Governance/SITEPAGES/Home.aspx" TargetMode="External"/><Relationship Id="rId1" Type="http://schemas.openxmlformats.org/officeDocument/2006/relationships/slideLayout" Target="../slideLayouts/slideLayout22.xml"/></Relationships>
</file>

<file path=ppt/slides/_rels/slide1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hyperlink" Target="https://progressiveinsurance.sharepoint.com/sites/Enterprise%20Data%20Governance/SITEPAGES/Home.aspx" TargetMode="External"/><Relationship Id="rId1" Type="http://schemas.openxmlformats.org/officeDocument/2006/relationships/slideLayout" Target="../slideLayouts/slideLayout22.xml"/><Relationship Id="rId4" Type="http://schemas.openxmlformats.org/officeDocument/2006/relationships/image" Target="../media/image20.png"/></Relationships>
</file>

<file path=ppt/slides/_rels/slide12.xml.rels><?xml version="1.0" encoding="UTF-8" standalone="yes"?>
<Relationships xmlns="http://schemas.openxmlformats.org/package/2006/relationships"><Relationship Id="rId8" Type="http://schemas.openxmlformats.org/officeDocument/2006/relationships/hyperlink" Target="../Lists/Data%20Engagement%20Requirements/DispForm.aspx?ID=50&amp;e=6R0S9Z" TargetMode="External"/><Relationship Id="rId13" Type="http://schemas.openxmlformats.org/officeDocument/2006/relationships/hyperlink" Target="../Lists/Data%20Engagement%20Requirements/DispForm.aspx?ID=27&amp;e=vWnbwV" TargetMode="External"/><Relationship Id="rId3" Type="http://schemas.openxmlformats.org/officeDocument/2006/relationships/hyperlink" Target="https://progressiveinsurance.sharepoint.com/sites/dataengagement1" TargetMode="External"/><Relationship Id="rId7" Type="http://schemas.openxmlformats.org/officeDocument/2006/relationships/hyperlink" Target="../Lists/Data%20Engagement%20Requirements/DispForm.aspx?ID=17&amp;e=ecvPQo" TargetMode="External"/><Relationship Id="rId12" Type="http://schemas.openxmlformats.org/officeDocument/2006/relationships/hyperlink" Target="../Lists/Data%20Engagement%20Requirements/DispForm.aspx?ID=49&amp;e=GrsPfL" TargetMode="External"/><Relationship Id="rId2" Type="http://schemas.openxmlformats.org/officeDocument/2006/relationships/notesSlide" Target="../notesSlides/notesSlide8.xml"/><Relationship Id="rId1" Type="http://schemas.openxmlformats.org/officeDocument/2006/relationships/slideLayout" Target="../slideLayouts/slideLayout18.xml"/><Relationship Id="rId6" Type="http://schemas.openxmlformats.org/officeDocument/2006/relationships/hyperlink" Target="../Lists/Data%20Engagement%20Requirements/DispForm.aspx?ID=16&amp;e=nS5l50" TargetMode="External"/><Relationship Id="rId11" Type="http://schemas.openxmlformats.org/officeDocument/2006/relationships/hyperlink" Target="../Lists/Data%20Engagement%20Requirements/DispForm.aspx?ID=15&amp;e=fsZuVF" TargetMode="External"/><Relationship Id="rId5" Type="http://schemas.openxmlformats.org/officeDocument/2006/relationships/hyperlink" Target="../Lists/Data%20Engagement%20Requirements/DispForm.aspx?ID=28&amp;e=WBJsKZ" TargetMode="External"/><Relationship Id="rId10" Type="http://schemas.openxmlformats.org/officeDocument/2006/relationships/hyperlink" Target="../Lists/Data%20Engagement%20Requirements/DispForm.aspx?ID=36&amp;e=yYzHfq" TargetMode="External"/><Relationship Id="rId4" Type="http://schemas.openxmlformats.org/officeDocument/2006/relationships/hyperlink" Target="https://progressiveinsurance.sharepoint.com/sites/dataengagement1/Lists/Data%20Engagement%20Requirements/AllItems.aspx" TargetMode="External"/><Relationship Id="rId9" Type="http://schemas.openxmlformats.org/officeDocument/2006/relationships/hyperlink" Target="../Lists/Data%20Engagement%20Requirements/DispForm.aspx?ID=18&amp;e=clfOJ6" TargetMode="External"/></Relationships>
</file>

<file path=ppt/slides/_rels/slide1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9.xml"/><Relationship Id="rId1" Type="http://schemas.openxmlformats.org/officeDocument/2006/relationships/slideLayout" Target="../slideLayouts/slideLayout22.xml"/></Relationships>
</file>

<file path=ppt/slides/_rels/slide14.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0.xml"/><Relationship Id="rId1" Type="http://schemas.openxmlformats.org/officeDocument/2006/relationships/slideLayout" Target="../slideLayouts/slideLayout16.xml"/><Relationship Id="rId6" Type="http://schemas.openxmlformats.org/officeDocument/2006/relationships/diagramColors" Target="../diagrams/colors1.xml"/><Relationship Id="rId11" Type="http://schemas.openxmlformats.org/officeDocument/2006/relationships/hyperlink" Target="https://progressiveinsurance.sharepoint.com/sites/enterprise%20data%20governance/SitePages/Free%20The%20Data.aspx" TargetMode="External"/><Relationship Id="rId5" Type="http://schemas.openxmlformats.org/officeDocument/2006/relationships/diagramQuickStyle" Target="../diagrams/quickStyle1.xml"/><Relationship Id="rId10" Type="http://schemas.openxmlformats.org/officeDocument/2006/relationships/hyperlink" Target="https://tableauserver/t/PersonalLines/views/FindTheData/Home?%3Aembed=y&amp;%3AshowShareOptions=true&amp;%3Adisplay_count=no&amp;%3AshowVizHome=no#1" TargetMode="External"/><Relationship Id="rId4" Type="http://schemas.openxmlformats.org/officeDocument/2006/relationships/diagramLayout" Target="../diagrams/layout1.xml"/><Relationship Id="rId9" Type="http://schemas.openxmlformats.org/officeDocument/2006/relationships/hyperlink" Target="http://dig/" TargetMode="Externa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2.xml"/><Relationship Id="rId1" Type="http://schemas.openxmlformats.org/officeDocument/2006/relationships/slideLayout" Target="../slideLayouts/slideLayout15.xml"/></Relationships>
</file>

<file path=ppt/slides/_rels/slide17.xml.rels><?xml version="1.0" encoding="UTF-8" standalone="yes"?>
<Relationships xmlns="http://schemas.openxmlformats.org/package/2006/relationships"><Relationship Id="rId8" Type="http://schemas.openxmlformats.org/officeDocument/2006/relationships/hyperlink" Target="https://engage.cloud.microsoft/main/groups/eyJfdHlwZSI6Ikdyb3VwIiwiaWQiOiI2MDI4MDg3Mjk2MCJ9/all?domainRedirect=true" TargetMode="External"/><Relationship Id="rId3" Type="http://schemas.openxmlformats.org/officeDocument/2006/relationships/hyperlink" Target="https://progressiveinsurance.sharepoint.com/sites/EnterpriseData/SitePages/Home.aspx" TargetMode="External"/><Relationship Id="rId7" Type="http://schemas.openxmlformats.org/officeDocument/2006/relationships/hyperlink" Target="https://progressiveinsurance.sharepoint.com/sites/dataengagement1" TargetMode="External"/><Relationship Id="rId2" Type="http://schemas.openxmlformats.org/officeDocument/2006/relationships/notesSlide" Target="../notesSlides/notesSlide13.xml"/><Relationship Id="rId1" Type="http://schemas.openxmlformats.org/officeDocument/2006/relationships/slideLayout" Target="../slideLayouts/slideLayout13.xml"/><Relationship Id="rId6" Type="http://schemas.openxmlformats.org/officeDocument/2006/relationships/hyperlink" Target="https://progressiveinsurance.sharepoint.com/sites/collab_ea/Lists/Domain%20Look%20Up/AllItems.aspx?&amp;OR=Teams-HL&amp;CT=1681847381776&amp;clickparams=eyJBcHBOYW1lIjoiVGVhbXMtRGVza3RvcCIsIkFwcFZlcnNpb24iOiIyNy8yMzAzMDUwMTExMCIsIkhhc0ZlZGVyYXRlZFVzZXIiOmZhbHNlfQ%3D%3D" TargetMode="External"/><Relationship Id="rId5" Type="http://schemas.openxmlformats.org/officeDocument/2006/relationships/hyperlink" Target="https://progressiveinsurance.sharepoint.com/sites/Enterprise%20Data%20Governance/SITEPAGES/Home.aspx" TargetMode="External"/><Relationship Id="rId10" Type="http://schemas.openxmlformats.org/officeDocument/2006/relationships/hyperlink" Target="https://progressiveinsurance.sharepoint.com/sites/enterprise%20data%20governance/SitePages/Free%20The%20Data.aspx" TargetMode="External"/><Relationship Id="rId4" Type="http://schemas.openxmlformats.org/officeDocument/2006/relationships/hyperlink" Target="http://dig/" TargetMode="External"/><Relationship Id="rId9" Type="http://schemas.openxmlformats.org/officeDocument/2006/relationships/hyperlink" Target="https://app.powerbi.com/groups/c5a43df2-b0a6-42f8-a613-1b7f463b9823/reports/407b6b54-0d51-4f6e-9403-284c9265b5ed/ReportSection14ddaf723957a42db703?experience=power-bi" TargetMode="External"/></Relationships>
</file>

<file path=ppt/slides/_rels/slide18.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14.xml"/><Relationship Id="rId1" Type="http://schemas.openxmlformats.org/officeDocument/2006/relationships/slideLayout" Target="../slideLayouts/slideLayout41.xml"/></Relationships>
</file>

<file path=ppt/slides/_rels/slide1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5.xml"/><Relationship Id="rId1" Type="http://schemas.openxmlformats.org/officeDocument/2006/relationships/slideLayout" Target="../slideLayouts/slideLayout46.xml"/><Relationship Id="rId5" Type="http://schemas.openxmlformats.org/officeDocument/2006/relationships/image" Target="../media/image27.png"/><Relationship Id="rId4" Type="http://schemas.openxmlformats.org/officeDocument/2006/relationships/image" Target="../media/image26.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15.xml"/></Relationships>
</file>

<file path=ppt/slides/_rels/slide2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6.xml"/><Relationship Id="rId1" Type="http://schemas.openxmlformats.org/officeDocument/2006/relationships/slideLayout" Target="../slideLayouts/slideLayout15.xml"/></Relationships>
</file>

<file path=ppt/slides/_rels/slide2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xml"/><Relationship Id="rId1" Type="http://schemas.openxmlformats.org/officeDocument/2006/relationships/slideLayout" Target="../slideLayouts/slideLayout2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5.xml"/><Relationship Id="rId1" Type="http://schemas.openxmlformats.org/officeDocument/2006/relationships/slideLayout" Target="../slideLayouts/slideLayout22.xml"/><Relationship Id="rId4" Type="http://schemas.openxmlformats.org/officeDocument/2006/relationships/image" Target="../media/image16.png"/></Relationships>
</file>

<file path=ppt/slides/_rels/slide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6.xml"/><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3" Type="http://schemas.openxmlformats.org/officeDocument/2006/relationships/hyperlink" Target="https://progressiveinsurance.sharepoint.com/sites/Enterprise%20Data%20Governance/Lists/DG_Roles/AllItems.aspx?viewid=360dcdfb%2D0ff2%2D493e%2D9445%2Da91358a2f72b" TargetMode="External"/><Relationship Id="rId2" Type="http://schemas.openxmlformats.org/officeDocument/2006/relationships/notesSlide" Target="../notesSlides/notesSlide7.xml"/><Relationship Id="rId1" Type="http://schemas.openxmlformats.org/officeDocument/2006/relationships/slideLayout" Target="../slideLayouts/slideLayout22.xml"/><Relationship Id="rId5" Type="http://schemas.openxmlformats.org/officeDocument/2006/relationships/image" Target="../media/image18.png"/><Relationship Id="rId4" Type="http://schemas.openxmlformats.org/officeDocument/2006/relationships/hyperlink" Target="https://progressiveinsurance.sharepoint.com/sites/collab_ea/Lists/Domain%20Look%20Up/AllItems.aspx?&amp;OR=Teams-HL&amp;CT=1681847381776&amp;clickparams=eyJBcHBOYW1lIjoiVGVhbXMtRGVza3RvcCIsIkFwcFZlcnNpb24iOiIyNy8yMzAzMDUwMTExMCIsIkhhc0ZlZGVyYXRlZFVzZXIiOmZhbHNlfQ%3D%3D"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F8BC846-BDC1-4961-8C24-895D146AA2A3}"/>
              </a:ext>
            </a:extLst>
          </p:cNvPr>
          <p:cNvSpPr>
            <a:spLocks noGrp="1"/>
          </p:cNvSpPr>
          <p:nvPr>
            <p:ph type="ctrTitle"/>
          </p:nvPr>
        </p:nvSpPr>
        <p:spPr/>
        <p:txBody>
          <a:bodyPr>
            <a:normAutofit/>
          </a:bodyPr>
          <a:lstStyle/>
          <a:p>
            <a:r>
              <a:rPr lang="en-US" sz="5400" dirty="0">
                <a:solidFill>
                  <a:srgbClr val="222732"/>
                </a:solidFill>
                <a:latin typeface="Bahnschrift SemiBold" panose="020B0502040204020203" pitchFamily="34" charset="0"/>
              </a:rPr>
              <a:t>Data Governance at Progressive</a:t>
            </a:r>
            <a:endParaRPr lang="en-US" dirty="0"/>
          </a:p>
        </p:txBody>
      </p:sp>
      <p:sp>
        <p:nvSpPr>
          <p:cNvPr id="8" name="Subtitle 7">
            <a:extLst>
              <a:ext uri="{FF2B5EF4-FFF2-40B4-BE49-F238E27FC236}">
                <a16:creationId xmlns:a16="http://schemas.microsoft.com/office/drawing/2014/main" id="{86E16089-6078-497B-9CD8-AAC486AE7F8A}"/>
              </a:ext>
            </a:extLst>
          </p:cNvPr>
          <p:cNvSpPr>
            <a:spLocks noGrp="1"/>
          </p:cNvSpPr>
          <p:nvPr>
            <p:ph type="subTitle" idx="1"/>
          </p:nvPr>
        </p:nvSpPr>
        <p:spPr/>
        <p:txBody>
          <a:bodyPr/>
          <a:lstStyle/>
          <a:p>
            <a:r>
              <a:rPr lang="en-US" sz="2800" dirty="0">
                <a:solidFill>
                  <a:srgbClr val="222732"/>
                </a:solidFill>
                <a:latin typeface="Bahnschrift SemiBold" panose="020B0502040204020203" pitchFamily="34" charset="0"/>
              </a:rPr>
              <a:t>Managing Data as an Asset</a:t>
            </a:r>
          </a:p>
          <a:p>
            <a:endParaRPr lang="en-US" sz="2800" dirty="0">
              <a:solidFill>
                <a:srgbClr val="222732"/>
              </a:solidFill>
              <a:latin typeface="Bahnschrift SemiBold" panose="020B0502040204020203" pitchFamily="34" charset="0"/>
            </a:endParaRPr>
          </a:p>
          <a:p>
            <a:r>
              <a:rPr lang="en-US" sz="2800" dirty="0">
                <a:solidFill>
                  <a:srgbClr val="222732"/>
                </a:solidFill>
                <a:latin typeface="Bahnschrift SemiBold" panose="020B0502040204020203" pitchFamily="34" charset="0"/>
              </a:rPr>
              <a:t>Analyst Bootcamp – April, 2024</a:t>
            </a:r>
            <a:endParaRPr lang="en-US" sz="2800" dirty="0"/>
          </a:p>
        </p:txBody>
      </p:sp>
      <p:sp>
        <p:nvSpPr>
          <p:cNvPr id="2" name="Text Placeholder 3">
            <a:extLst>
              <a:ext uri="{FF2B5EF4-FFF2-40B4-BE49-F238E27FC236}">
                <a16:creationId xmlns:a16="http://schemas.microsoft.com/office/drawing/2014/main" id="{594E4F13-AD3B-3E8E-7A75-9BD7FFA9E1CE}"/>
              </a:ext>
            </a:extLst>
          </p:cNvPr>
          <p:cNvSpPr txBox="1">
            <a:spLocks/>
          </p:cNvSpPr>
          <p:nvPr/>
        </p:nvSpPr>
        <p:spPr>
          <a:xfrm>
            <a:off x="7877916" y="5044635"/>
            <a:ext cx="3176207" cy="276320"/>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1428" b="0" kern="1200">
                <a:solidFill>
                  <a:srgbClr val="0075BA"/>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en-US" dirty="0"/>
              <a:t>Karen Jensen</a:t>
            </a:r>
            <a:br>
              <a:rPr lang="en-US" dirty="0"/>
            </a:br>
            <a:r>
              <a:rPr lang="en-US" dirty="0" err="1"/>
              <a:t>Mgr</a:t>
            </a:r>
            <a:r>
              <a:rPr lang="en-US" dirty="0"/>
              <a:t> – Data Governance</a:t>
            </a:r>
          </a:p>
        </p:txBody>
      </p:sp>
    </p:spTree>
    <p:extLst>
      <p:ext uri="{BB962C8B-B14F-4D97-AF65-F5344CB8AC3E}">
        <p14:creationId xmlns:p14="http://schemas.microsoft.com/office/powerpoint/2010/main" val="98477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071B59-BD1F-3C87-A47D-3EEB7D134CF8}"/>
              </a:ext>
            </a:extLst>
          </p:cNvPr>
          <p:cNvSpPr>
            <a:spLocks noGrp="1"/>
          </p:cNvSpPr>
          <p:nvPr>
            <p:ph type="title"/>
          </p:nvPr>
        </p:nvSpPr>
        <p:spPr/>
        <p:txBody>
          <a:bodyPr vert="horz" lIns="91440" tIns="45720" rIns="91440" bIns="45720" rtlCol="0" anchor="ctr">
            <a:noAutofit/>
          </a:bodyPr>
          <a:lstStyle/>
          <a:p>
            <a:r>
              <a:rPr lang="en-US" dirty="0"/>
              <a:t>DG Community Roles</a:t>
            </a:r>
          </a:p>
        </p:txBody>
      </p:sp>
      <p:graphicFrame>
        <p:nvGraphicFramePr>
          <p:cNvPr id="4" name="Table 4">
            <a:extLst>
              <a:ext uri="{FF2B5EF4-FFF2-40B4-BE49-F238E27FC236}">
                <a16:creationId xmlns:a16="http://schemas.microsoft.com/office/drawing/2014/main" id="{B95AEA0D-47BA-7F08-E245-3E52F6547AA5}"/>
              </a:ext>
            </a:extLst>
          </p:cNvPr>
          <p:cNvGraphicFramePr>
            <a:graphicFrameLocks noGrp="1"/>
          </p:cNvGraphicFramePr>
          <p:nvPr>
            <p:ph idx="4294967295"/>
            <p:extLst>
              <p:ext uri="{D42A27DB-BD31-4B8C-83A1-F6EECF244321}">
                <p14:modId xmlns:p14="http://schemas.microsoft.com/office/powerpoint/2010/main" val="2879636246"/>
              </p:ext>
            </p:extLst>
          </p:nvPr>
        </p:nvGraphicFramePr>
        <p:xfrm>
          <a:off x="806631" y="879999"/>
          <a:ext cx="10578738" cy="5684520"/>
        </p:xfrm>
        <a:graphic>
          <a:graphicData uri="http://schemas.openxmlformats.org/drawingml/2006/table">
            <a:tbl>
              <a:tblPr firstRow="1" bandRow="1">
                <a:tableStyleId>{5C22544A-7EE6-4342-B048-85BDC9FD1C3A}</a:tableStyleId>
              </a:tblPr>
              <a:tblGrid>
                <a:gridCol w="2110069">
                  <a:extLst>
                    <a:ext uri="{9D8B030D-6E8A-4147-A177-3AD203B41FA5}">
                      <a16:colId xmlns:a16="http://schemas.microsoft.com/office/drawing/2014/main" val="3353840301"/>
                    </a:ext>
                  </a:extLst>
                </a:gridCol>
                <a:gridCol w="2110069">
                  <a:extLst>
                    <a:ext uri="{9D8B030D-6E8A-4147-A177-3AD203B41FA5}">
                      <a16:colId xmlns:a16="http://schemas.microsoft.com/office/drawing/2014/main" val="3439104909"/>
                    </a:ext>
                  </a:extLst>
                </a:gridCol>
                <a:gridCol w="2081672">
                  <a:extLst>
                    <a:ext uri="{9D8B030D-6E8A-4147-A177-3AD203B41FA5}">
                      <a16:colId xmlns:a16="http://schemas.microsoft.com/office/drawing/2014/main" val="30661862"/>
                    </a:ext>
                  </a:extLst>
                </a:gridCol>
                <a:gridCol w="2138464">
                  <a:extLst>
                    <a:ext uri="{9D8B030D-6E8A-4147-A177-3AD203B41FA5}">
                      <a16:colId xmlns:a16="http://schemas.microsoft.com/office/drawing/2014/main" val="2992433967"/>
                    </a:ext>
                  </a:extLst>
                </a:gridCol>
                <a:gridCol w="2138464">
                  <a:extLst>
                    <a:ext uri="{9D8B030D-6E8A-4147-A177-3AD203B41FA5}">
                      <a16:colId xmlns:a16="http://schemas.microsoft.com/office/drawing/2014/main" val="2120018121"/>
                    </a:ext>
                  </a:extLst>
                </a:gridCol>
              </a:tblGrid>
              <a:tr h="670560">
                <a:tc>
                  <a:txBody>
                    <a:bodyPr/>
                    <a:lstStyle/>
                    <a:p>
                      <a:r>
                        <a:rPr lang="en-US" sz="1600" dirty="0"/>
                        <a:t>DG Steering</a:t>
                      </a:r>
                    </a:p>
                  </a:txBody>
                  <a:tcPr/>
                </a:tc>
                <a:tc>
                  <a:txBody>
                    <a:bodyPr/>
                    <a:lstStyle/>
                    <a:p>
                      <a:r>
                        <a:rPr lang="en-US" sz="1600" dirty="0"/>
                        <a:t>DG Council (DGC)</a:t>
                      </a:r>
                    </a:p>
                  </a:txBody>
                  <a:tcPr/>
                </a:tc>
                <a:tc>
                  <a:txBody>
                    <a:bodyPr/>
                    <a:lstStyle/>
                    <a:p>
                      <a:r>
                        <a:rPr lang="en-US" sz="1600" dirty="0"/>
                        <a:t>DG Steward</a:t>
                      </a:r>
                    </a:p>
                  </a:txBody>
                  <a:tcPr/>
                </a:tc>
                <a:tc>
                  <a:txBody>
                    <a:bodyPr/>
                    <a:lstStyle/>
                    <a:p>
                      <a:r>
                        <a:rPr lang="en-US" sz="1600" dirty="0"/>
                        <a:t>Data Subject Matter Expert (SME)</a:t>
                      </a:r>
                    </a:p>
                  </a:txBody>
                  <a:tcPr/>
                </a:tc>
                <a:tc>
                  <a:txBody>
                    <a:bodyPr/>
                    <a:lstStyle/>
                    <a:p>
                      <a:r>
                        <a:rPr lang="en-US" sz="1600" dirty="0"/>
                        <a:t>Technical Subject Matter Expert (T-SME)</a:t>
                      </a:r>
                      <a:endParaRPr lang="en-US" sz="1100" dirty="0"/>
                    </a:p>
                  </a:txBody>
                  <a:tcPr/>
                </a:tc>
                <a:extLst>
                  <a:ext uri="{0D108BD9-81ED-4DB2-BD59-A6C34878D82A}">
                    <a16:rowId xmlns:a16="http://schemas.microsoft.com/office/drawing/2014/main" val="2860414015"/>
                  </a:ext>
                </a:extLst>
              </a:tr>
              <a:tr h="627542">
                <a:tc>
                  <a:txBody>
                    <a:bodyPr/>
                    <a:lstStyle/>
                    <a:p>
                      <a:pPr lvl="0">
                        <a:buNone/>
                      </a:pPr>
                      <a:r>
                        <a:rPr lang="en-US" sz="1100" b="0" i="0" u="none" strike="noStrike" noProof="0" dirty="0">
                          <a:latin typeface="+mn-lt"/>
                        </a:rPr>
                        <a:t>Senior Leaders across all lines of business – responsible to drive strategic direction for DG​</a:t>
                      </a:r>
                    </a:p>
                  </a:txBody>
                  <a:tcPr/>
                </a:tc>
                <a:tc>
                  <a:txBody>
                    <a:bodyPr/>
                    <a:lstStyle/>
                    <a:p>
                      <a:pPr lvl="0">
                        <a:buNone/>
                      </a:pPr>
                      <a:r>
                        <a:rPr lang="en-US" sz="1100" b="0" i="0" u="none" strike="noStrike" baseline="0" noProof="0" dirty="0">
                          <a:solidFill>
                            <a:srgbClr val="000000"/>
                          </a:solidFill>
                          <a:latin typeface="Calibri"/>
                        </a:rPr>
                        <a:t>Leads data governance initiatives  aligning efforts to business objectives</a:t>
                      </a:r>
                      <a:endParaRPr lang="en-US" sz="1600" dirty="0"/>
                    </a:p>
                  </a:txBody>
                  <a:tcPr/>
                </a:tc>
                <a:tc>
                  <a:txBody>
                    <a:bodyPr/>
                    <a:lstStyle/>
                    <a:p>
                      <a:pPr lvl="0">
                        <a:buNone/>
                      </a:pPr>
                      <a:r>
                        <a:rPr lang="en-US" sz="1100" b="0" i="0" u="none" strike="noStrike" baseline="0" noProof="0" dirty="0">
                          <a:solidFill>
                            <a:srgbClr val="000000"/>
                          </a:solidFill>
                          <a:latin typeface="Calibri"/>
                        </a:rPr>
                        <a:t>Ensure the usage and creation of data is aligned to the needs of the business</a:t>
                      </a:r>
                      <a:endParaRPr lang="en-US" sz="1600" dirty="0"/>
                    </a:p>
                  </a:txBody>
                  <a:tcPr/>
                </a:tc>
                <a:tc>
                  <a:txBody>
                    <a:bodyPr/>
                    <a:lstStyle/>
                    <a:p>
                      <a:r>
                        <a:rPr lang="en-US" sz="1100" dirty="0"/>
                        <a:t>​</a:t>
                      </a:r>
                      <a:r>
                        <a:rPr lang="en-US" sz="1100" b="0" i="0" u="none" strike="noStrike" baseline="0" noProof="0" dirty="0">
                          <a:solidFill>
                            <a:srgbClr val="000000"/>
                          </a:solidFill>
                          <a:latin typeface="+mn-lt"/>
                        </a:rPr>
                        <a:t>Tactical execution of DG efforts set forth by DG Steering &amp; DG Council</a:t>
                      </a:r>
                      <a:endParaRPr lang="en-US" sz="1100" dirty="0"/>
                    </a:p>
                  </a:txBody>
                  <a:tcPr/>
                </a:tc>
                <a:tc>
                  <a:txBody>
                    <a:bodyPr/>
                    <a:lstStyle/>
                    <a:p>
                      <a:r>
                        <a:rPr lang="en-US" sz="1100" dirty="0"/>
                        <a:t>Ensures technologies produce data in alignment with data governance framework, mitigating data debt &amp; issues</a:t>
                      </a:r>
                    </a:p>
                  </a:txBody>
                  <a:tcPr/>
                </a:tc>
                <a:extLst>
                  <a:ext uri="{0D108BD9-81ED-4DB2-BD59-A6C34878D82A}">
                    <a16:rowId xmlns:a16="http://schemas.microsoft.com/office/drawing/2014/main" val="2673562308"/>
                  </a:ext>
                </a:extLst>
              </a:tr>
              <a:tr h="574766">
                <a:tc>
                  <a:txBody>
                    <a:bodyPr/>
                    <a:lstStyle/>
                    <a:p>
                      <a:pPr lvl="0" algn="ctr">
                        <a:buNone/>
                      </a:pPr>
                      <a:r>
                        <a:rPr lang="en-US" sz="1100" b="1" i="1" kern="1200" dirty="0">
                          <a:solidFill>
                            <a:schemeClr val="dk1"/>
                          </a:solidFill>
                          <a:effectLst/>
                          <a:latin typeface="+mn-lt"/>
                          <a:ea typeface="+mn-ea"/>
                          <a:cs typeface="+mn-cs"/>
                        </a:rPr>
                        <a:t>Strategize</a:t>
                      </a:r>
                      <a:br>
                        <a:rPr lang="en-US" sz="1100" b="1" i="1" dirty="0"/>
                      </a:br>
                      <a:r>
                        <a:rPr lang="en-US" sz="1100" b="1" i="1" kern="1200" dirty="0">
                          <a:solidFill>
                            <a:schemeClr val="dk1"/>
                          </a:solidFill>
                          <a:effectLst/>
                          <a:latin typeface="+mn-lt"/>
                          <a:ea typeface="+mn-ea"/>
                          <a:cs typeface="+mn-cs"/>
                        </a:rPr>
                        <a:t>Champion</a:t>
                      </a:r>
                      <a:br>
                        <a:rPr lang="en-US" sz="1100" b="1" i="1" dirty="0"/>
                      </a:br>
                      <a:r>
                        <a:rPr lang="en-US" sz="1100" b="1" i="1" kern="1200" dirty="0">
                          <a:solidFill>
                            <a:schemeClr val="dk1"/>
                          </a:solidFill>
                          <a:effectLst/>
                          <a:latin typeface="+mn-lt"/>
                          <a:ea typeface="+mn-ea"/>
                          <a:cs typeface="+mn-cs"/>
                        </a:rPr>
                        <a:t>Influence</a:t>
                      </a:r>
                      <a:endParaRPr lang="en-US" sz="1100" b="1" i="1" dirty="0"/>
                    </a:p>
                  </a:txBody>
                  <a:tcPr/>
                </a:tc>
                <a:tc>
                  <a:txBody>
                    <a:bodyPr/>
                    <a:lstStyle/>
                    <a:p>
                      <a:pPr algn="ctr"/>
                      <a:r>
                        <a:rPr lang="en-US" sz="1100" b="1" i="1" dirty="0"/>
                        <a:t>Lead</a:t>
                      </a:r>
                    </a:p>
                    <a:p>
                      <a:pPr algn="ctr"/>
                      <a:r>
                        <a:rPr lang="en-US" sz="1100" b="1" i="1" dirty="0"/>
                        <a:t>Define</a:t>
                      </a:r>
                    </a:p>
                    <a:p>
                      <a:pPr algn="ctr"/>
                      <a:r>
                        <a:rPr lang="en-US" sz="1100" b="1" i="1" dirty="0"/>
                        <a:t>Promote</a:t>
                      </a:r>
                    </a:p>
                  </a:txBody>
                  <a:tcPr/>
                </a:tc>
                <a:tc>
                  <a:txBody>
                    <a:bodyPr/>
                    <a:lstStyle/>
                    <a:p>
                      <a:pPr algn="ctr"/>
                      <a:r>
                        <a:rPr lang="en-US" sz="1100" b="1" i="1" dirty="0"/>
                        <a:t>Represent</a:t>
                      </a:r>
                    </a:p>
                    <a:p>
                      <a:pPr algn="ctr"/>
                      <a:r>
                        <a:rPr lang="en-US" sz="1100" b="1" i="1" dirty="0"/>
                        <a:t>Discover</a:t>
                      </a:r>
                    </a:p>
                    <a:p>
                      <a:pPr algn="ctr"/>
                      <a:r>
                        <a:rPr lang="en-US" sz="1100" b="1" i="1" dirty="0"/>
                        <a:t>Define</a:t>
                      </a:r>
                    </a:p>
                  </a:txBody>
                  <a:tcPr/>
                </a:tc>
                <a:tc>
                  <a:txBody>
                    <a:bodyPr/>
                    <a:lstStyle/>
                    <a:p>
                      <a:pPr algn="ctr"/>
                      <a:r>
                        <a:rPr lang="en-US" sz="1100" b="1" i="1" dirty="0"/>
                        <a:t>Evaluate</a:t>
                      </a:r>
                    </a:p>
                    <a:p>
                      <a:pPr algn="ctr"/>
                      <a:r>
                        <a:rPr lang="en-US" sz="1100" b="1" i="1" dirty="0"/>
                        <a:t>Deliver</a:t>
                      </a:r>
                    </a:p>
                    <a:p>
                      <a:pPr algn="ctr"/>
                      <a:r>
                        <a:rPr lang="en-US" sz="1100" b="1" i="1" dirty="0"/>
                        <a:t>Map</a:t>
                      </a:r>
                    </a:p>
                  </a:txBody>
                  <a:tcPr/>
                </a:tc>
                <a:tc>
                  <a:txBody>
                    <a:bodyPr/>
                    <a:lstStyle/>
                    <a:p>
                      <a:pPr algn="ctr"/>
                      <a:r>
                        <a:rPr lang="en-US" sz="1100" b="1" i="1" dirty="0"/>
                        <a:t>Store</a:t>
                      </a:r>
                    </a:p>
                    <a:p>
                      <a:pPr algn="ctr"/>
                      <a:r>
                        <a:rPr lang="en-US" sz="1100" b="1" i="1" dirty="0"/>
                        <a:t>Process</a:t>
                      </a:r>
                    </a:p>
                    <a:p>
                      <a:pPr algn="ctr"/>
                      <a:r>
                        <a:rPr lang="en-US" sz="1100" b="1" i="1" dirty="0"/>
                        <a:t>Manage </a:t>
                      </a:r>
                    </a:p>
                  </a:txBody>
                  <a:tcPr/>
                </a:tc>
                <a:extLst>
                  <a:ext uri="{0D108BD9-81ED-4DB2-BD59-A6C34878D82A}">
                    <a16:rowId xmlns:a16="http://schemas.microsoft.com/office/drawing/2014/main" val="2550918581"/>
                  </a:ext>
                </a:extLst>
              </a:tr>
              <a:tr h="2480515">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dirty="0"/>
                        <a:t>Understand, promote and support the Enterprise Data Governance Vision, Tactics and Prioriti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dirty="0"/>
                        <a:t>Meet frequently with your DG Council member, to drive DG initiatives in support of business objectives and understand impact and effort to perform these duti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dirty="0"/>
                        <a:t>Plan for and ensure adequate staffing of various DG roles to support treating data as an asse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900"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900"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900" dirty="0"/>
                    </a:p>
                    <a:p>
                      <a:pPr lvl="0">
                        <a:buNone/>
                      </a:pPr>
                      <a:endParaRPr lang="en-US" sz="900" dirty="0"/>
                    </a:p>
                  </a:txBody>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dirty="0"/>
                        <a:t>Lead the data stewardship organization in assigned business line, including identifying, onboarding and coaching data stewards and SMEs</a:t>
                      </a:r>
                    </a:p>
                    <a:p>
                      <a:pPr marL="171450" lvl="0" indent="-171450">
                        <a:buFont typeface="Arial" panose="020B0604020202020204" pitchFamily="34" charset="0"/>
                        <a:buChar char="•"/>
                      </a:pPr>
                      <a:r>
                        <a:rPr lang="en-US" sz="900" dirty="0"/>
                        <a:t>Understand and promote the Enterprise Data Governance Vision, Tactics and Priorities</a:t>
                      </a:r>
                    </a:p>
                    <a:p>
                      <a:pPr marL="171450" lvl="0" indent="-171450">
                        <a:buFont typeface="Arial" panose="020B0604020202020204" pitchFamily="34" charset="0"/>
                        <a:buChar char="•"/>
                      </a:pPr>
                      <a:r>
                        <a:rPr lang="en-US" sz="900" dirty="0"/>
                        <a:t>Participate in defining, building and implementing enterprise standards, processes, and policies to govern Progressive's dat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dirty="0"/>
                        <a:t>Meet frequently with your Stewards, to facilitate DG efforts and escalate data issues/feedback to DG Steering or DGO</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dirty="0"/>
                        <a:t>Facilitate discussions and engage on data-related projects, representing assets and DG requirements within your business uni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dirty="0"/>
                        <a:t>Coordinate data stewards' assignments and manage their allocations on projects and other DG activities</a:t>
                      </a:r>
                    </a:p>
                    <a:p>
                      <a:pPr marL="171450" lvl="0" indent="-171450">
                        <a:buFont typeface="Arial" panose="020B0604020202020204" pitchFamily="34" charset="0"/>
                        <a:buChar char="•"/>
                      </a:pPr>
                      <a:r>
                        <a:rPr lang="en-US" sz="900" dirty="0"/>
                        <a:t>Establish and monitor key DG metrics for data quality and DG compliance </a:t>
                      </a:r>
                    </a:p>
                  </a:txBody>
                  <a:tcPr/>
                </a:tc>
                <a:tc>
                  <a:txBody>
                    <a:bodyPr/>
                    <a:lstStyle/>
                    <a:p>
                      <a:pPr marL="171450" lvl="0" indent="-171450">
                        <a:buFont typeface="Arial" panose="020B0604020202020204" pitchFamily="34" charset="0"/>
                        <a:buChar char="•"/>
                      </a:pPr>
                      <a:r>
                        <a:rPr lang="en-US" sz="900" dirty="0"/>
                        <a:t>Represent your data domain and lead, participate and influence data-related decisions for your are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dirty="0"/>
                        <a:t>Understand and promote the Enterprise Data Governance Vision, Tactics and Priorities</a:t>
                      </a:r>
                    </a:p>
                    <a:p>
                      <a:pPr marL="171450" lvl="0" indent="-171450">
                        <a:buFont typeface="Arial" panose="020B0604020202020204" pitchFamily="34" charset="0"/>
                        <a:buChar char="•"/>
                      </a:pPr>
                      <a:r>
                        <a:rPr lang="en-US" sz="900" dirty="0"/>
                        <a:t>Work with DG Council Members to build and implement enterprise standards, processes, and policies that govern Progressive data</a:t>
                      </a:r>
                    </a:p>
                    <a:p>
                      <a:pPr marL="171450" lvl="0" indent="-171450">
                        <a:buFont typeface="Arial" panose="020B0604020202020204" pitchFamily="34" charset="0"/>
                        <a:buChar char="•"/>
                      </a:pPr>
                      <a:r>
                        <a:rPr lang="en-US" sz="900" dirty="0"/>
                        <a:t>Meet frequently with your SMEs to move the DG agenda forward and escalate any issues/feedback to DG Council, DG Steering or DGO</a:t>
                      </a:r>
                    </a:p>
                    <a:p>
                      <a:pPr marL="171450" lvl="0" indent="-171450">
                        <a:buFont typeface="Arial" panose="020B0604020202020204" pitchFamily="34" charset="0"/>
                        <a:buChar char="•"/>
                      </a:pPr>
                      <a:r>
                        <a:rPr lang="en-US" sz="900" dirty="0"/>
                        <a:t>Engage on data-related projects and facilitate the gathering of DG requirements </a:t>
                      </a:r>
                    </a:p>
                    <a:p>
                      <a:pPr marL="171450" lvl="0" indent="-171450">
                        <a:buFont typeface="Arial" panose="020B0604020202020204" pitchFamily="34" charset="0"/>
                        <a:buChar char="•"/>
                      </a:pPr>
                      <a:r>
                        <a:rPr lang="en-US" sz="900" dirty="0"/>
                        <a:t>Ensure the integrity of the data assets you represent, making sure well-documented, timely updates are made in DIG</a:t>
                      </a:r>
                    </a:p>
                    <a:p>
                      <a:pPr marL="171450" lvl="0" indent="-171450">
                        <a:buFont typeface="Arial" panose="020B0604020202020204" pitchFamily="34" charset="0"/>
                        <a:buChar char="•"/>
                      </a:pPr>
                      <a:r>
                        <a:rPr lang="en-US" sz="900" dirty="0"/>
                        <a:t>Champion for improved data quality through the identification, documentation, and resolution of data issues</a:t>
                      </a:r>
                    </a:p>
                  </a:txBody>
                  <a:tcPr/>
                </a:tc>
                <a:tc>
                  <a:txBody>
                    <a:bodyPr/>
                    <a:lstStyle/>
                    <a:p>
                      <a:pPr marL="171450" indent="-171450">
                        <a:buFont typeface="Arial" panose="020B0604020202020204" pitchFamily="34" charset="0"/>
                        <a:buChar char="•"/>
                      </a:pPr>
                      <a:r>
                        <a:rPr lang="en-US" sz="900" dirty="0"/>
                        <a:t>In collaboration with data architects and stewards, use the Data and Information Governance Tool (DIG) to document information on data</a:t>
                      </a:r>
                    </a:p>
                    <a:p>
                      <a:pPr marL="171450" indent="-171450">
                        <a:buFont typeface="Arial" panose="020B0604020202020204" pitchFamily="34" charset="0"/>
                        <a:buChar char="•"/>
                      </a:pPr>
                      <a:r>
                        <a:rPr lang="en-US" sz="900" dirty="0"/>
                        <a:t>Address questions and inquiries about your assets, communicate any known issues to the users and work with stakeholders to resolve issu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dirty="0"/>
                        <a:t>Engage on data-related projects, gather requirements pertaining to data governance and represent the DG project requirements</a:t>
                      </a:r>
                    </a:p>
                    <a:p>
                      <a:pPr marL="171450" indent="-171450">
                        <a:buFont typeface="Arial" panose="020B0604020202020204" pitchFamily="34" charset="0"/>
                        <a:buChar char="•"/>
                      </a:pPr>
                      <a:r>
                        <a:rPr lang="en-US" sz="900" dirty="0"/>
                        <a:t>Meet frequently with your Data Steward and escalate any issues/feedback to DG Council, DG Steering or DGO</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dirty="0"/>
                        <a:t>Ensure the integrity of the data assets you represent and make sure they are well-documented and updated in a timely manner</a:t>
                      </a:r>
                    </a:p>
                    <a:p>
                      <a:pPr marL="171450" indent="-171450">
                        <a:buFont typeface="Arial" panose="020B0604020202020204" pitchFamily="34" charset="0"/>
                        <a:buChar char="•"/>
                      </a:pPr>
                      <a:r>
                        <a:rPr lang="en-US" sz="900" dirty="0"/>
                        <a:t>Champion for improved data quality through the identification, documentation, and resolution of data issues in your business unit</a:t>
                      </a:r>
                    </a:p>
                  </a:txBody>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dirty="0"/>
                        <a:t>Responsible for the operation and management of technology and systems that collect, store, process, manage, and provide access to Progressive dat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dirty="0"/>
                        <a:t>Understand and promote the Enterprise Data Governance Vision, Tactics and Priorities from a technology perspectiv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dirty="0"/>
                        <a:t>Meet frequently with your Data Stewards and/or SMEs to align technology efforts with DG requirement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dirty="0"/>
                        <a:t>Participate in on-going education and training regarding the technical aspects of DG standards and requiremen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dirty="0"/>
                        <a:t>On data-related projects, facilitate the completion of DG requirements by technology team member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dirty="0"/>
                        <a:t>Collaborate with DG Council, Data Stewards and SMEs to understand and prioritize technology issues to resolve data issues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900" dirty="0"/>
                    </a:p>
                  </a:txBody>
                  <a:tcPr/>
                </a:tc>
                <a:extLst>
                  <a:ext uri="{0D108BD9-81ED-4DB2-BD59-A6C34878D82A}">
                    <a16:rowId xmlns:a16="http://schemas.microsoft.com/office/drawing/2014/main" val="1893550403"/>
                  </a:ext>
                </a:extLst>
              </a:tr>
            </a:tbl>
          </a:graphicData>
        </a:graphic>
      </p:graphicFrame>
      <p:sp>
        <p:nvSpPr>
          <p:cNvPr id="5" name="TextBox 4">
            <a:extLst>
              <a:ext uri="{FF2B5EF4-FFF2-40B4-BE49-F238E27FC236}">
                <a16:creationId xmlns:a16="http://schemas.microsoft.com/office/drawing/2014/main" id="{F5ABC086-884B-BCC4-8DC5-AD4748271355}"/>
              </a:ext>
            </a:extLst>
          </p:cNvPr>
          <p:cNvSpPr txBox="1"/>
          <p:nvPr/>
        </p:nvSpPr>
        <p:spPr>
          <a:xfrm>
            <a:off x="5287597" y="510627"/>
            <a:ext cx="6097772" cy="369332"/>
          </a:xfrm>
          <a:prstGeom prst="rect">
            <a:avLst/>
          </a:prstGeom>
          <a:noFill/>
        </p:spPr>
        <p:txBody>
          <a:bodyPr wrap="square">
            <a:spAutoFit/>
          </a:bodyPr>
          <a:lstStyle/>
          <a:p>
            <a:pPr algn="r"/>
            <a:r>
              <a:rPr lang="en-US" dirty="0" err="1">
                <a:hlinkClick r:id="rId2"/>
              </a:rPr>
              <a:t>DataGov</a:t>
            </a:r>
            <a:r>
              <a:rPr lang="en-US" dirty="0">
                <a:hlinkClick r:id="rId2"/>
              </a:rPr>
              <a:t>/</a:t>
            </a:r>
            <a:endParaRPr lang="en-US" dirty="0"/>
          </a:p>
        </p:txBody>
      </p:sp>
      <p:sp>
        <p:nvSpPr>
          <p:cNvPr id="3" name="Rectangle 2">
            <a:extLst>
              <a:ext uri="{FF2B5EF4-FFF2-40B4-BE49-F238E27FC236}">
                <a16:creationId xmlns:a16="http://schemas.microsoft.com/office/drawing/2014/main" id="{391EDDB5-0254-BC9C-1D84-9848EA6BC63A}"/>
              </a:ext>
            </a:extLst>
          </p:cNvPr>
          <p:cNvSpPr/>
          <p:nvPr/>
        </p:nvSpPr>
        <p:spPr>
          <a:xfrm>
            <a:off x="5007935" y="616688"/>
            <a:ext cx="4242391" cy="5947831"/>
          </a:xfrm>
          <a:prstGeom prst="rect">
            <a:avLst/>
          </a:prstGeom>
          <a:noFill/>
          <a:ln w="3810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FE7DF646-CDA9-36C9-9255-087869114B66}"/>
              </a:ext>
            </a:extLst>
          </p:cNvPr>
          <p:cNvSpPr txBox="1"/>
          <p:nvPr/>
        </p:nvSpPr>
        <p:spPr>
          <a:xfrm>
            <a:off x="5530198" y="603789"/>
            <a:ext cx="3197863" cy="369332"/>
          </a:xfrm>
          <a:prstGeom prst="rect">
            <a:avLst/>
          </a:prstGeom>
          <a:noFill/>
        </p:spPr>
        <p:txBody>
          <a:bodyPr wrap="none" rtlCol="0">
            <a:spAutoFit/>
          </a:bodyPr>
          <a:lstStyle/>
          <a:p>
            <a:r>
              <a:rPr lang="en-US" i="1" dirty="0">
                <a:solidFill>
                  <a:srgbClr val="C00000"/>
                </a:solidFill>
              </a:rPr>
              <a:t>Roles a Data Analyst might fulfill</a:t>
            </a:r>
          </a:p>
        </p:txBody>
      </p:sp>
    </p:spTree>
    <p:extLst>
      <p:ext uri="{BB962C8B-B14F-4D97-AF65-F5344CB8AC3E}">
        <p14:creationId xmlns:p14="http://schemas.microsoft.com/office/powerpoint/2010/main" val="5145425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B0A0B4-7412-FB9D-AE41-FFD7F6DF79E3}"/>
              </a:ext>
            </a:extLst>
          </p:cNvPr>
          <p:cNvSpPr>
            <a:spLocks noGrp="1"/>
          </p:cNvSpPr>
          <p:nvPr>
            <p:ph type="title"/>
          </p:nvPr>
        </p:nvSpPr>
        <p:spPr/>
        <p:txBody>
          <a:bodyPr/>
          <a:lstStyle/>
          <a:p>
            <a:r>
              <a:rPr lang="en-US" dirty="0"/>
              <a:t>Data Governance Site - </a:t>
            </a:r>
            <a:r>
              <a:rPr lang="en-US" dirty="0" err="1">
                <a:hlinkClick r:id="rId2"/>
              </a:rPr>
              <a:t>DataGov</a:t>
            </a:r>
            <a:r>
              <a:rPr lang="en-US" dirty="0">
                <a:hlinkClick r:id="rId2"/>
              </a:rPr>
              <a:t>/</a:t>
            </a:r>
            <a:endParaRPr lang="en-US" dirty="0"/>
          </a:p>
        </p:txBody>
      </p:sp>
      <p:grpSp>
        <p:nvGrpSpPr>
          <p:cNvPr id="7" name="Group 6">
            <a:extLst>
              <a:ext uri="{FF2B5EF4-FFF2-40B4-BE49-F238E27FC236}">
                <a16:creationId xmlns:a16="http://schemas.microsoft.com/office/drawing/2014/main" id="{E515DFD9-C369-73EA-79A0-C939E2BA097D}"/>
              </a:ext>
            </a:extLst>
          </p:cNvPr>
          <p:cNvGrpSpPr/>
          <p:nvPr/>
        </p:nvGrpSpPr>
        <p:grpSpPr>
          <a:xfrm>
            <a:off x="1084521" y="716921"/>
            <a:ext cx="9643730" cy="5950268"/>
            <a:chOff x="0" y="613978"/>
            <a:chExt cx="12192000" cy="8387834"/>
          </a:xfrm>
        </p:grpSpPr>
        <p:pic>
          <p:nvPicPr>
            <p:cNvPr id="4" name="Picture 3">
              <a:extLst>
                <a:ext uri="{FF2B5EF4-FFF2-40B4-BE49-F238E27FC236}">
                  <a16:creationId xmlns:a16="http://schemas.microsoft.com/office/drawing/2014/main" id="{5B7B3E3A-F4A9-1238-27E5-D2CE1913D4D7}"/>
                </a:ext>
              </a:extLst>
            </p:cNvPr>
            <p:cNvPicPr>
              <a:picLocks noChangeAspect="1"/>
            </p:cNvPicPr>
            <p:nvPr/>
          </p:nvPicPr>
          <p:blipFill>
            <a:blip r:embed="rId3"/>
            <a:stretch>
              <a:fillRect/>
            </a:stretch>
          </p:blipFill>
          <p:spPr>
            <a:xfrm>
              <a:off x="0" y="613978"/>
              <a:ext cx="12192000" cy="5630043"/>
            </a:xfrm>
            <a:prstGeom prst="rect">
              <a:avLst/>
            </a:prstGeom>
          </p:spPr>
        </p:pic>
        <p:pic>
          <p:nvPicPr>
            <p:cNvPr id="6" name="Picture 5">
              <a:extLst>
                <a:ext uri="{FF2B5EF4-FFF2-40B4-BE49-F238E27FC236}">
                  <a16:creationId xmlns:a16="http://schemas.microsoft.com/office/drawing/2014/main" id="{5159E975-19CC-8217-665D-0390D80506B9}"/>
                </a:ext>
              </a:extLst>
            </p:cNvPr>
            <p:cNvPicPr>
              <a:picLocks noChangeAspect="1"/>
            </p:cNvPicPr>
            <p:nvPr/>
          </p:nvPicPr>
          <p:blipFill>
            <a:blip r:embed="rId4"/>
            <a:stretch>
              <a:fillRect/>
            </a:stretch>
          </p:blipFill>
          <p:spPr>
            <a:xfrm>
              <a:off x="0" y="6244021"/>
              <a:ext cx="12192000" cy="2757791"/>
            </a:xfrm>
            <a:prstGeom prst="rect">
              <a:avLst/>
            </a:prstGeom>
          </p:spPr>
        </p:pic>
      </p:grpSp>
      <p:sp>
        <p:nvSpPr>
          <p:cNvPr id="8" name="Speech Bubble: Rectangle with Corners Rounded 7">
            <a:extLst>
              <a:ext uri="{FF2B5EF4-FFF2-40B4-BE49-F238E27FC236}">
                <a16:creationId xmlns:a16="http://schemas.microsoft.com/office/drawing/2014/main" id="{31F889D4-79D4-0C0C-C804-3B32C32ABF4F}"/>
              </a:ext>
            </a:extLst>
          </p:cNvPr>
          <p:cNvSpPr/>
          <p:nvPr/>
        </p:nvSpPr>
        <p:spPr>
          <a:xfrm>
            <a:off x="177209" y="3737176"/>
            <a:ext cx="1286540" cy="691116"/>
          </a:xfrm>
          <a:prstGeom prst="wedgeRoundRectCallout">
            <a:avLst>
              <a:gd name="adj1" fmla="val 80820"/>
              <a:gd name="adj2" fmla="val 37885"/>
              <a:gd name="adj3" fmla="val 16667"/>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dirty="0"/>
              <a:t>Who are the Stewards/ SME’s?</a:t>
            </a:r>
          </a:p>
        </p:txBody>
      </p:sp>
    </p:spTree>
    <p:extLst>
      <p:ext uri="{BB962C8B-B14F-4D97-AF65-F5344CB8AC3E}">
        <p14:creationId xmlns:p14="http://schemas.microsoft.com/office/powerpoint/2010/main" val="323278263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48D5EF-BB1B-7EB1-B7BB-EDFD1472655E}"/>
              </a:ext>
            </a:extLst>
          </p:cNvPr>
          <p:cNvSpPr>
            <a:spLocks noGrp="1"/>
          </p:cNvSpPr>
          <p:nvPr>
            <p:ph type="title"/>
          </p:nvPr>
        </p:nvSpPr>
        <p:spPr/>
        <p:txBody>
          <a:bodyPr/>
          <a:lstStyle/>
          <a:p>
            <a:r>
              <a:rPr lang="en-US" dirty="0"/>
              <a:t>Data Governance Framework – </a:t>
            </a:r>
            <a:r>
              <a:rPr lang="en-US" dirty="0" err="1">
                <a:hlinkClick r:id="rId3"/>
              </a:rPr>
              <a:t>DataEngagement</a:t>
            </a:r>
            <a:r>
              <a:rPr lang="en-US" dirty="0">
                <a:hlinkClick r:id="rId3"/>
              </a:rPr>
              <a:t>/</a:t>
            </a:r>
            <a:endParaRPr lang="en-US" dirty="0"/>
          </a:p>
        </p:txBody>
      </p:sp>
      <p:sp>
        <p:nvSpPr>
          <p:cNvPr id="6" name="Content Placeholder 5">
            <a:extLst>
              <a:ext uri="{FF2B5EF4-FFF2-40B4-BE49-F238E27FC236}">
                <a16:creationId xmlns:a16="http://schemas.microsoft.com/office/drawing/2014/main" id="{00AF955B-5F46-6643-6A7A-4AC1031E45A9}"/>
              </a:ext>
            </a:extLst>
          </p:cNvPr>
          <p:cNvSpPr>
            <a:spLocks noGrp="1"/>
          </p:cNvSpPr>
          <p:nvPr>
            <p:ph sz="half" idx="1"/>
          </p:nvPr>
        </p:nvSpPr>
        <p:spPr>
          <a:xfrm>
            <a:off x="740837" y="1205836"/>
            <a:ext cx="4086344" cy="4656350"/>
          </a:xfrm>
        </p:spPr>
        <p:txBody>
          <a:bodyPr>
            <a:normAutofit fontScale="92500" lnSpcReduction="20000"/>
          </a:bodyPr>
          <a:lstStyle/>
          <a:p>
            <a:pPr marL="0" indent="0">
              <a:buNone/>
            </a:pPr>
            <a:r>
              <a:rPr lang="en-US" sz="2400" b="1" dirty="0"/>
              <a:t>Why do we need it?</a:t>
            </a:r>
          </a:p>
          <a:p>
            <a:r>
              <a:rPr lang="en-US" sz="2400" dirty="0"/>
              <a:t>Assurance that data is not an afterthought in projects</a:t>
            </a:r>
          </a:p>
          <a:p>
            <a:pPr lvl="1"/>
            <a:r>
              <a:rPr lang="en-US" sz="2000" dirty="0"/>
              <a:t>Data stakeholder participation </a:t>
            </a:r>
          </a:p>
          <a:p>
            <a:pPr lvl="1"/>
            <a:r>
              <a:rPr lang="en-US" sz="2000" dirty="0"/>
              <a:t>Assist in defining and fulfilling data needs of a project</a:t>
            </a:r>
          </a:p>
          <a:p>
            <a:pPr marL="0" indent="0">
              <a:buNone/>
            </a:pPr>
            <a:endParaRPr lang="en-US" sz="2400" b="1" dirty="0"/>
          </a:p>
          <a:p>
            <a:pPr marL="0" indent="0">
              <a:buNone/>
            </a:pPr>
            <a:r>
              <a:rPr lang="en-US" sz="2400" b="1" dirty="0"/>
              <a:t>Beyond projects….</a:t>
            </a:r>
          </a:p>
          <a:p>
            <a:r>
              <a:rPr lang="en-US" sz="2200" dirty="0">
                <a:hlinkClick r:id="rId4"/>
              </a:rPr>
              <a:t>DE Requirements</a:t>
            </a:r>
            <a:r>
              <a:rPr lang="en-US" sz="3500" dirty="0"/>
              <a:t> </a:t>
            </a:r>
            <a:r>
              <a:rPr lang="en-US" sz="2400" dirty="0"/>
              <a:t>illustrate the activities of data governance</a:t>
            </a:r>
          </a:p>
          <a:p>
            <a:pPr lvl="1"/>
            <a:r>
              <a:rPr lang="en-US" sz="2000" dirty="0"/>
              <a:t>Applicable beyond a project</a:t>
            </a:r>
          </a:p>
          <a:p>
            <a:pPr lvl="1"/>
            <a:r>
              <a:rPr lang="en-US" sz="2000" dirty="0"/>
              <a:t>The things we do to govern our data</a:t>
            </a:r>
          </a:p>
        </p:txBody>
      </p:sp>
      <p:graphicFrame>
        <p:nvGraphicFramePr>
          <p:cNvPr id="5" name="Table 4">
            <a:extLst>
              <a:ext uri="{FF2B5EF4-FFF2-40B4-BE49-F238E27FC236}">
                <a16:creationId xmlns:a16="http://schemas.microsoft.com/office/drawing/2014/main" id="{479AC52E-8F1F-9700-7585-83D555B813FB}"/>
              </a:ext>
            </a:extLst>
          </p:cNvPr>
          <p:cNvGraphicFramePr>
            <a:graphicFrameLocks noGrp="1"/>
          </p:cNvGraphicFramePr>
          <p:nvPr>
            <p:extLst>
              <p:ext uri="{D42A27DB-BD31-4B8C-83A1-F6EECF244321}">
                <p14:modId xmlns:p14="http://schemas.microsoft.com/office/powerpoint/2010/main" val="4269194774"/>
              </p:ext>
            </p:extLst>
          </p:nvPr>
        </p:nvGraphicFramePr>
        <p:xfrm>
          <a:off x="4931867" y="988828"/>
          <a:ext cx="7061660" cy="4873356"/>
        </p:xfrm>
        <a:graphic>
          <a:graphicData uri="http://schemas.openxmlformats.org/drawingml/2006/table">
            <a:tbl>
              <a:tblPr/>
              <a:tblGrid>
                <a:gridCol w="467054">
                  <a:extLst>
                    <a:ext uri="{9D8B030D-6E8A-4147-A177-3AD203B41FA5}">
                      <a16:colId xmlns:a16="http://schemas.microsoft.com/office/drawing/2014/main" val="3344928675"/>
                    </a:ext>
                  </a:extLst>
                </a:gridCol>
                <a:gridCol w="327446">
                  <a:extLst>
                    <a:ext uri="{9D8B030D-6E8A-4147-A177-3AD203B41FA5}">
                      <a16:colId xmlns:a16="http://schemas.microsoft.com/office/drawing/2014/main" val="659075365"/>
                    </a:ext>
                  </a:extLst>
                </a:gridCol>
                <a:gridCol w="2155050">
                  <a:extLst>
                    <a:ext uri="{9D8B030D-6E8A-4147-A177-3AD203B41FA5}">
                      <a16:colId xmlns:a16="http://schemas.microsoft.com/office/drawing/2014/main" val="2211685376"/>
                    </a:ext>
                  </a:extLst>
                </a:gridCol>
                <a:gridCol w="842729">
                  <a:extLst>
                    <a:ext uri="{9D8B030D-6E8A-4147-A177-3AD203B41FA5}">
                      <a16:colId xmlns:a16="http://schemas.microsoft.com/office/drawing/2014/main" val="1924888688"/>
                    </a:ext>
                  </a:extLst>
                </a:gridCol>
                <a:gridCol w="1045796">
                  <a:extLst>
                    <a:ext uri="{9D8B030D-6E8A-4147-A177-3AD203B41FA5}">
                      <a16:colId xmlns:a16="http://schemas.microsoft.com/office/drawing/2014/main" val="1061459234"/>
                    </a:ext>
                  </a:extLst>
                </a:gridCol>
                <a:gridCol w="436594">
                  <a:extLst>
                    <a:ext uri="{9D8B030D-6E8A-4147-A177-3AD203B41FA5}">
                      <a16:colId xmlns:a16="http://schemas.microsoft.com/office/drawing/2014/main" val="2297786181"/>
                    </a:ext>
                  </a:extLst>
                </a:gridCol>
                <a:gridCol w="710735">
                  <a:extLst>
                    <a:ext uri="{9D8B030D-6E8A-4147-A177-3AD203B41FA5}">
                      <a16:colId xmlns:a16="http://schemas.microsoft.com/office/drawing/2014/main" val="3010400467"/>
                    </a:ext>
                  </a:extLst>
                </a:gridCol>
                <a:gridCol w="1076256">
                  <a:extLst>
                    <a:ext uri="{9D8B030D-6E8A-4147-A177-3AD203B41FA5}">
                      <a16:colId xmlns:a16="http://schemas.microsoft.com/office/drawing/2014/main" val="188501831"/>
                    </a:ext>
                  </a:extLst>
                </a:gridCol>
              </a:tblGrid>
              <a:tr h="607584">
                <a:tc>
                  <a:txBody>
                    <a:bodyPr/>
                    <a:lstStyle/>
                    <a:p>
                      <a:pPr algn="l" fontAlgn="b"/>
                      <a:endParaRPr lang="en-US" sz="800" b="0" i="0" u="none" strike="noStrike">
                        <a:solidFill>
                          <a:srgbClr val="000000"/>
                        </a:solidFill>
                        <a:effectLst/>
                        <a:latin typeface="96 Sans" panose="020C0504020203020204" pitchFamily="34" charset="0"/>
                      </a:endParaRPr>
                    </a:p>
                  </a:txBody>
                  <a:tcPr marL="7247" marR="7247" marT="7247" marB="34786" anchor="b">
                    <a:lnL>
                      <a:noFill/>
                    </a:lnL>
                    <a:lnR w="12700" cap="flat" cmpd="sng" algn="ctr">
                      <a:solidFill>
                        <a:srgbClr val="000000"/>
                      </a:solidFill>
                      <a:prstDash val="solid"/>
                      <a:round/>
                      <a:headEnd type="none" w="med" len="med"/>
                      <a:tailEnd type="none" w="med" len="med"/>
                    </a:lnR>
                    <a:lnT>
                      <a:noFill/>
                    </a:lnT>
                    <a:lnB>
                      <a:noFill/>
                    </a:lnB>
                  </a:tcPr>
                </a:tc>
                <a:tc gridSpan="4">
                  <a:txBody>
                    <a:bodyPr/>
                    <a:lstStyle/>
                    <a:p>
                      <a:pPr algn="ctr" fontAlgn="ctr"/>
                      <a:r>
                        <a:rPr lang="fr-FR" sz="1200" b="1" i="0" u="none" strike="noStrike">
                          <a:solidFill>
                            <a:srgbClr val="000000"/>
                          </a:solidFill>
                          <a:effectLst/>
                          <a:latin typeface="96 Sans" panose="020C0504020203020204" pitchFamily="34" charset="0"/>
                        </a:rPr>
                        <a:t>Data Engagement Base Requirements Matrix</a:t>
                      </a:r>
                    </a:p>
                  </a:txBody>
                  <a:tcPr marL="7247" marR="7247" marT="7247" marB="34786"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rtl="0" fontAlgn="ctr"/>
                      <a:r>
                        <a:rPr lang="en-US" sz="700" b="1" i="0" u="none" strike="noStrike">
                          <a:solidFill>
                            <a:srgbClr val="000000"/>
                          </a:solidFill>
                          <a:effectLst/>
                          <a:latin typeface="96 Sans" panose="020C0504020203020204" pitchFamily="34" charset="0"/>
                        </a:rPr>
                        <a:t>Support Type </a:t>
                      </a:r>
                      <a:br>
                        <a:rPr lang="en-US" sz="700" b="1" i="0" u="none" strike="noStrike">
                          <a:solidFill>
                            <a:srgbClr val="000000"/>
                          </a:solidFill>
                          <a:effectLst/>
                          <a:latin typeface="96 Sans" panose="020C0504020203020204" pitchFamily="34" charset="0"/>
                        </a:rPr>
                      </a:br>
                      <a:r>
                        <a:rPr lang="en-US" sz="700" b="1" i="0" u="none" strike="noStrike">
                          <a:solidFill>
                            <a:srgbClr val="000000"/>
                          </a:solidFill>
                          <a:effectLst/>
                          <a:latin typeface="96 Sans" panose="020C0504020203020204" pitchFamily="34" charset="0"/>
                        </a:rPr>
                        <a:t>&amp;</a:t>
                      </a:r>
                      <a:br>
                        <a:rPr lang="en-US" sz="700" b="1" i="0" u="none" strike="noStrike">
                          <a:solidFill>
                            <a:srgbClr val="000000"/>
                          </a:solidFill>
                          <a:effectLst/>
                          <a:latin typeface="96 Sans" panose="020C0504020203020204" pitchFamily="34" charset="0"/>
                        </a:rPr>
                      </a:br>
                      <a:r>
                        <a:rPr lang="en-US" sz="700" b="1" i="0" u="none" strike="noStrike">
                          <a:solidFill>
                            <a:srgbClr val="000000"/>
                          </a:solidFill>
                          <a:effectLst/>
                          <a:latin typeface="96 Sans" panose="020C0504020203020204" pitchFamily="34" charset="0"/>
                        </a:rPr>
                        <a:t>DBMS</a:t>
                      </a:r>
                    </a:p>
                  </a:txBody>
                  <a:tcPr marL="7247" marR="7247" marT="7247" marB="34786"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CB9CA"/>
                    </a:solidFill>
                  </a:tcPr>
                </a:tc>
                <a:tc>
                  <a:txBody>
                    <a:bodyPr/>
                    <a:lstStyle/>
                    <a:p>
                      <a:pPr algn="ctr" rtl="0" fontAlgn="ctr"/>
                      <a:r>
                        <a:rPr lang="en-US" sz="700" b="1" i="0" u="none" strike="noStrike">
                          <a:solidFill>
                            <a:srgbClr val="000000"/>
                          </a:solidFill>
                          <a:effectLst/>
                          <a:latin typeface="96 Sans" panose="020C0504020203020204" pitchFamily="34" charset="0"/>
                        </a:rPr>
                        <a:t>IT Supported </a:t>
                      </a:r>
                      <a:br>
                        <a:rPr lang="en-US" sz="700" b="1" i="0" u="none" strike="noStrike">
                          <a:solidFill>
                            <a:srgbClr val="000000"/>
                          </a:solidFill>
                          <a:effectLst/>
                          <a:latin typeface="96 Sans" panose="020C0504020203020204" pitchFamily="34" charset="0"/>
                        </a:rPr>
                      </a:br>
                      <a:r>
                        <a:rPr lang="en-US" sz="700" b="1" i="0" u="none" strike="noStrike">
                          <a:solidFill>
                            <a:srgbClr val="000000"/>
                          </a:solidFill>
                          <a:effectLst/>
                          <a:latin typeface="96 Sans" panose="020C0504020203020204" pitchFamily="34" charset="0"/>
                        </a:rPr>
                        <a:t>&amp; </a:t>
                      </a:r>
                      <a:br>
                        <a:rPr lang="en-US" sz="700" b="1" i="0" u="none" strike="noStrike">
                          <a:solidFill>
                            <a:srgbClr val="000000"/>
                          </a:solidFill>
                          <a:effectLst/>
                          <a:latin typeface="96 Sans" panose="020C0504020203020204" pitchFamily="34" charset="0"/>
                        </a:rPr>
                      </a:br>
                      <a:r>
                        <a:rPr lang="en-US" sz="700" b="1" i="0" u="none" strike="noStrike">
                          <a:solidFill>
                            <a:srgbClr val="000000"/>
                          </a:solidFill>
                          <a:effectLst/>
                          <a:latin typeface="96 Sans" panose="020C0504020203020204" pitchFamily="34" charset="0"/>
                        </a:rPr>
                        <a:t>Snowflake </a:t>
                      </a:r>
                    </a:p>
                  </a:txBody>
                  <a:tcPr marL="7247" marR="7247" marT="7247" marB="34786"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ctr" rtl="0" fontAlgn="ctr"/>
                      <a:r>
                        <a:rPr lang="en-US" sz="700" b="1" i="0" u="none" strike="noStrike">
                          <a:solidFill>
                            <a:srgbClr val="000000"/>
                          </a:solidFill>
                          <a:effectLst/>
                          <a:latin typeface="96 Sans" panose="020C0504020203020204" pitchFamily="34" charset="0"/>
                        </a:rPr>
                        <a:t>IT &amp; Non-IT Supported </a:t>
                      </a:r>
                      <a:br>
                        <a:rPr lang="en-US" sz="700" b="1" i="0" u="none" strike="noStrike">
                          <a:solidFill>
                            <a:srgbClr val="000000"/>
                          </a:solidFill>
                          <a:effectLst/>
                          <a:latin typeface="96 Sans" panose="020C0504020203020204" pitchFamily="34" charset="0"/>
                        </a:rPr>
                      </a:br>
                      <a:r>
                        <a:rPr lang="en-US" sz="700" b="1" i="0" u="none" strike="noStrike">
                          <a:solidFill>
                            <a:srgbClr val="000000"/>
                          </a:solidFill>
                          <a:effectLst/>
                          <a:latin typeface="96 Sans" panose="020C0504020203020204" pitchFamily="34" charset="0"/>
                        </a:rPr>
                        <a:t>&amp;</a:t>
                      </a:r>
                      <a:br>
                        <a:rPr lang="en-US" sz="700" b="1" i="0" u="none" strike="noStrike">
                          <a:solidFill>
                            <a:srgbClr val="000000"/>
                          </a:solidFill>
                          <a:effectLst/>
                          <a:latin typeface="96 Sans" panose="020C0504020203020204" pitchFamily="34" charset="0"/>
                        </a:rPr>
                      </a:br>
                      <a:r>
                        <a:rPr lang="en-US" sz="700" b="1" i="0" u="none" strike="noStrike">
                          <a:solidFill>
                            <a:srgbClr val="000000"/>
                          </a:solidFill>
                          <a:effectLst/>
                          <a:latin typeface="96 Sans" panose="020C0504020203020204" pitchFamily="34" charset="0"/>
                        </a:rPr>
                        <a:t>All other </a:t>
                      </a:r>
                      <a:br>
                        <a:rPr lang="en-US" sz="700" b="1" i="0" u="none" strike="noStrike">
                          <a:solidFill>
                            <a:srgbClr val="000000"/>
                          </a:solidFill>
                          <a:effectLst/>
                          <a:latin typeface="96 Sans" panose="020C0504020203020204" pitchFamily="34" charset="0"/>
                        </a:rPr>
                      </a:br>
                      <a:r>
                        <a:rPr lang="en-US" sz="700" b="1" i="0" u="none" strike="noStrike">
                          <a:solidFill>
                            <a:srgbClr val="000000"/>
                          </a:solidFill>
                          <a:effectLst/>
                          <a:latin typeface="96 Sans" panose="020C0504020203020204" pitchFamily="34" charset="0"/>
                        </a:rPr>
                        <a:t>non-Snowflake DBMS</a:t>
                      </a:r>
                    </a:p>
                  </a:txBody>
                  <a:tcPr marL="7247" marR="7247" marT="7247" marB="34786"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894574261"/>
                  </a:ext>
                </a:extLst>
              </a:tr>
              <a:tr h="335690">
                <a:tc>
                  <a:txBody>
                    <a:bodyPr/>
                    <a:lstStyle/>
                    <a:p>
                      <a:pPr algn="l" fontAlgn="b"/>
                      <a:endParaRPr lang="en-US" sz="800" b="0" i="0" u="none" strike="noStrike">
                        <a:solidFill>
                          <a:srgbClr val="000000"/>
                        </a:solidFill>
                        <a:effectLst/>
                        <a:latin typeface="96 Sans" panose="020C0504020203020204" pitchFamily="34" charset="0"/>
                      </a:endParaRPr>
                    </a:p>
                  </a:txBody>
                  <a:tcPr marL="7247" marR="7247" marT="7247" marB="34786"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900" b="1" i="0" u="none" strike="noStrike">
                          <a:solidFill>
                            <a:srgbClr val="000000"/>
                          </a:solidFill>
                          <a:effectLst/>
                          <a:latin typeface="96 Sans" panose="020C0504020203020204" pitchFamily="34" charset="0"/>
                        </a:rPr>
                        <a:t>ID</a:t>
                      </a:r>
                    </a:p>
                  </a:txBody>
                  <a:tcPr marL="7247" marR="7247" marT="7247" marB="34786"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CB9CA"/>
                    </a:solidFill>
                  </a:tcPr>
                </a:tc>
                <a:tc>
                  <a:txBody>
                    <a:bodyPr/>
                    <a:lstStyle/>
                    <a:p>
                      <a:pPr algn="l" fontAlgn="ctr"/>
                      <a:r>
                        <a:rPr lang="en-US" sz="900" b="1" i="0" u="none" strike="noStrike">
                          <a:solidFill>
                            <a:srgbClr val="000000"/>
                          </a:solidFill>
                          <a:effectLst/>
                          <a:latin typeface="96 Sans" panose="020C0504020203020204" pitchFamily="34" charset="0"/>
                        </a:rPr>
                        <a:t>Data Engagement Requirement</a:t>
                      </a:r>
                    </a:p>
                  </a:txBody>
                  <a:tcPr marL="7247" marR="7247" marT="7247" marB="34786"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CB9CA"/>
                    </a:solidFill>
                  </a:tcPr>
                </a:tc>
                <a:tc>
                  <a:txBody>
                    <a:bodyPr/>
                    <a:lstStyle/>
                    <a:p>
                      <a:pPr algn="ctr" fontAlgn="ctr"/>
                      <a:r>
                        <a:rPr lang="en-US" sz="900" b="1" i="0" u="none" strike="noStrike">
                          <a:solidFill>
                            <a:srgbClr val="000000"/>
                          </a:solidFill>
                          <a:effectLst/>
                          <a:latin typeface="96 Sans" panose="020C0504020203020204" pitchFamily="34" charset="0"/>
                        </a:rPr>
                        <a:t>Accountable Role</a:t>
                      </a:r>
                    </a:p>
                  </a:txBody>
                  <a:tcPr marL="7247" marR="7247" marT="7247" marB="34786"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CB9CA"/>
                    </a:solidFill>
                  </a:tcPr>
                </a:tc>
                <a:tc>
                  <a:txBody>
                    <a:bodyPr/>
                    <a:lstStyle/>
                    <a:p>
                      <a:pPr algn="ctr" fontAlgn="b"/>
                      <a:r>
                        <a:rPr lang="en-US" sz="900" b="1" i="0" u="none" strike="noStrike" dirty="0">
                          <a:solidFill>
                            <a:srgbClr val="000000"/>
                          </a:solidFill>
                          <a:effectLst/>
                          <a:latin typeface="96 Sans" panose="020C0504020203020204" pitchFamily="34" charset="0"/>
                        </a:rPr>
                        <a:t>Responsible Role</a:t>
                      </a:r>
                    </a:p>
                  </a:txBody>
                  <a:tcPr marL="7247" marR="7247" marT="7247" marB="34786"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CB9CA"/>
                    </a:solidFill>
                  </a:tcPr>
                </a:tc>
                <a:tc>
                  <a:txBody>
                    <a:bodyPr/>
                    <a:lstStyle/>
                    <a:p>
                      <a:pPr algn="r" rtl="0" fontAlgn="b"/>
                      <a:endParaRPr lang="en-US" sz="800" b="1" i="0" u="none" strike="noStrike">
                        <a:solidFill>
                          <a:srgbClr val="000000"/>
                        </a:solidFill>
                        <a:effectLst/>
                        <a:latin typeface="96 Sans" panose="020C0504020203020204" pitchFamily="34" charset="0"/>
                      </a:endParaRPr>
                    </a:p>
                  </a:txBody>
                  <a:tcPr marL="7247" marR="7247" marT="7247" marB="34786" vert="vert27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CB9CA"/>
                    </a:solidFill>
                  </a:tcPr>
                </a:tc>
                <a:tc>
                  <a:txBody>
                    <a:bodyPr/>
                    <a:lstStyle/>
                    <a:p>
                      <a:pPr algn="r" rtl="0" fontAlgn="b"/>
                      <a:endParaRPr lang="en-US" sz="800" b="1" i="0" u="none" strike="noStrike">
                        <a:solidFill>
                          <a:srgbClr val="000000"/>
                        </a:solidFill>
                        <a:effectLst/>
                        <a:latin typeface="96 Sans" panose="020C0504020203020204" pitchFamily="34" charset="0"/>
                      </a:endParaRPr>
                    </a:p>
                  </a:txBody>
                  <a:tcPr marL="7247" marR="7247" marT="7247" marB="34786" vert="vert27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r" rtl="0" fontAlgn="b"/>
                      <a:endParaRPr lang="en-US" sz="800" b="1" i="0" u="none" strike="noStrike">
                        <a:solidFill>
                          <a:srgbClr val="000000"/>
                        </a:solidFill>
                        <a:effectLst/>
                        <a:latin typeface="96 Sans" panose="020C0504020203020204" pitchFamily="34" charset="0"/>
                      </a:endParaRPr>
                    </a:p>
                  </a:txBody>
                  <a:tcPr marL="7247" marR="7247" marT="7247" marB="34786" vert="vert27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191202424"/>
                  </a:ext>
                </a:extLst>
              </a:tr>
              <a:tr h="311387">
                <a:tc>
                  <a:txBody>
                    <a:bodyPr/>
                    <a:lstStyle/>
                    <a:p>
                      <a:pPr algn="l" fontAlgn="b"/>
                      <a:endParaRPr lang="en-US" sz="800" b="0" i="0" u="none" strike="noStrike">
                        <a:solidFill>
                          <a:srgbClr val="000000"/>
                        </a:solidFill>
                        <a:effectLst/>
                        <a:latin typeface="96 Sans" panose="020C0504020203020204" pitchFamily="34" charset="0"/>
                      </a:endParaRPr>
                    </a:p>
                  </a:txBody>
                  <a:tcPr marL="7247" marR="7247" marT="7247" marB="34786"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900" b="0" i="0" u="none" strike="noStrike">
                          <a:solidFill>
                            <a:srgbClr val="000000"/>
                          </a:solidFill>
                          <a:effectLst/>
                          <a:latin typeface="96 Sans" panose="020C0504020203020204" pitchFamily="34" charset="0"/>
                        </a:rPr>
                        <a:t>1</a:t>
                      </a:r>
                    </a:p>
                  </a:txBody>
                  <a:tcPr marL="7247" marR="7247" marT="7247" marB="34786"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900" b="0" i="0" u="sng" strike="noStrike">
                          <a:solidFill>
                            <a:srgbClr val="0563C1"/>
                          </a:solidFill>
                          <a:effectLst/>
                          <a:latin typeface="Calibri" panose="020F0502020204030204" pitchFamily="34" charset="0"/>
                          <a:hlinkClick r:id="rId5"/>
                        </a:rPr>
                        <a:t>Data Governance Accountability</a:t>
                      </a:r>
                      <a:endParaRPr lang="en-US" sz="900" b="0" i="0" u="sng" strike="noStrike">
                        <a:solidFill>
                          <a:srgbClr val="0563C1"/>
                        </a:solidFill>
                        <a:effectLst/>
                        <a:latin typeface="Calibri" panose="020F0502020204030204" pitchFamily="34" charset="0"/>
                      </a:endParaRPr>
                    </a:p>
                  </a:txBody>
                  <a:tcPr marL="65224" marR="7247" marT="7247" marB="34786"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96 Sans" panose="020C0504020203020204" pitchFamily="34" charset="0"/>
                        </a:rPr>
                        <a:t>Data Steward</a:t>
                      </a:r>
                    </a:p>
                  </a:txBody>
                  <a:tcPr marL="7247" marR="7247" marT="7247" marB="34786"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96 Sans" panose="020C0504020203020204" pitchFamily="34" charset="0"/>
                        </a:rPr>
                        <a:t>Data SME</a:t>
                      </a:r>
                    </a:p>
                  </a:txBody>
                  <a:tcPr marL="7247" marR="7247" marT="7247" marB="34786"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800" b="0" i="0" u="none" strike="noStrike">
                        <a:solidFill>
                          <a:srgbClr val="000000"/>
                        </a:solidFill>
                        <a:effectLst/>
                        <a:latin typeface="96 Sans" panose="020C0504020203020204" pitchFamily="34" charset="0"/>
                      </a:endParaRPr>
                    </a:p>
                  </a:txBody>
                  <a:tcPr marL="7247" marR="7247" marT="7247" marB="34786"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CB9CA"/>
                    </a:solidFill>
                  </a:tcPr>
                </a:tc>
                <a:tc>
                  <a:txBody>
                    <a:bodyPr/>
                    <a:lstStyle/>
                    <a:p>
                      <a:pPr algn="ctr" fontAlgn="ctr"/>
                      <a:r>
                        <a:rPr lang="en-US" sz="1500" b="1" i="0" u="none" strike="noStrike">
                          <a:solidFill>
                            <a:srgbClr val="000000"/>
                          </a:solidFill>
                          <a:effectLst/>
                          <a:latin typeface="96 Sans" panose="020C0504020203020204" pitchFamily="34" charset="0"/>
                        </a:rPr>
                        <a:t>x</a:t>
                      </a:r>
                    </a:p>
                  </a:txBody>
                  <a:tcPr marL="7247" marR="7247" marT="7247" marB="34786"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ctr"/>
                      <a:r>
                        <a:rPr lang="en-US" sz="1500" b="1" i="0" u="none" strike="noStrike">
                          <a:solidFill>
                            <a:srgbClr val="000000"/>
                          </a:solidFill>
                          <a:effectLst/>
                          <a:latin typeface="96 Sans" panose="020C0504020203020204" pitchFamily="34" charset="0"/>
                        </a:rPr>
                        <a:t>x</a:t>
                      </a:r>
                    </a:p>
                  </a:txBody>
                  <a:tcPr marL="7247" marR="7247" marT="7247" marB="34786"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3193306646"/>
                  </a:ext>
                </a:extLst>
              </a:tr>
              <a:tr h="622773">
                <a:tc>
                  <a:txBody>
                    <a:bodyPr/>
                    <a:lstStyle/>
                    <a:p>
                      <a:pPr algn="l" fontAlgn="b"/>
                      <a:endParaRPr lang="en-US" sz="800" b="0" i="0" u="none" strike="noStrike">
                        <a:solidFill>
                          <a:srgbClr val="000000"/>
                        </a:solidFill>
                        <a:effectLst/>
                        <a:latin typeface="96 Sans" panose="020C0504020203020204" pitchFamily="34" charset="0"/>
                      </a:endParaRPr>
                    </a:p>
                  </a:txBody>
                  <a:tcPr marL="7247" marR="7247" marT="7247" marB="34786"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900" b="0" i="0" u="none" strike="noStrike">
                          <a:solidFill>
                            <a:srgbClr val="000000"/>
                          </a:solidFill>
                          <a:effectLst/>
                          <a:latin typeface="96 Sans" panose="020C0504020203020204" pitchFamily="34" charset="0"/>
                        </a:rPr>
                        <a:t>2</a:t>
                      </a:r>
                    </a:p>
                  </a:txBody>
                  <a:tcPr marL="7247" marR="7247" marT="7247" marB="34786"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900" b="0" i="0" u="sng" strike="noStrike">
                          <a:solidFill>
                            <a:srgbClr val="0563C1"/>
                          </a:solidFill>
                          <a:effectLst/>
                          <a:latin typeface="Calibri" panose="020F0502020204030204" pitchFamily="34" charset="0"/>
                          <a:hlinkClick r:id="rId6"/>
                        </a:rPr>
                        <a:t>Identification of CHS and Restricted Data (Data Discovery) and Sensitive Data Classification</a:t>
                      </a:r>
                      <a:endParaRPr lang="en-US" sz="900" b="0" i="0" u="sng" strike="noStrike">
                        <a:solidFill>
                          <a:srgbClr val="0563C1"/>
                        </a:solidFill>
                        <a:effectLst/>
                        <a:latin typeface="Calibri" panose="020F0502020204030204" pitchFamily="34" charset="0"/>
                      </a:endParaRPr>
                    </a:p>
                  </a:txBody>
                  <a:tcPr marL="65224" marR="7247" marT="7247" marB="34786"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96 Sans" panose="020C0504020203020204" pitchFamily="34" charset="0"/>
                        </a:rPr>
                        <a:t>Data Steward</a:t>
                      </a:r>
                    </a:p>
                  </a:txBody>
                  <a:tcPr marL="7247" marR="7247" marT="7247" marB="34786"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96 Sans" panose="020C0504020203020204" pitchFamily="34" charset="0"/>
                        </a:rPr>
                        <a:t>Data SME</a:t>
                      </a:r>
                    </a:p>
                  </a:txBody>
                  <a:tcPr marL="7247" marR="7247" marT="7247" marB="34786"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800" b="0" i="0" u="none" strike="noStrike">
                        <a:solidFill>
                          <a:srgbClr val="000000"/>
                        </a:solidFill>
                        <a:effectLst/>
                        <a:latin typeface="96 Sans" panose="020C0504020203020204" pitchFamily="34" charset="0"/>
                      </a:endParaRPr>
                    </a:p>
                  </a:txBody>
                  <a:tcPr marL="7247" marR="7247" marT="7247" marB="34786"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CB9CA"/>
                    </a:solidFill>
                  </a:tcPr>
                </a:tc>
                <a:tc>
                  <a:txBody>
                    <a:bodyPr/>
                    <a:lstStyle/>
                    <a:p>
                      <a:pPr algn="ctr" fontAlgn="ctr"/>
                      <a:r>
                        <a:rPr lang="en-US" sz="1500" b="1" i="0" u="none" strike="noStrike">
                          <a:solidFill>
                            <a:srgbClr val="000000"/>
                          </a:solidFill>
                          <a:effectLst/>
                          <a:latin typeface="96 Sans" panose="020C0504020203020204" pitchFamily="34" charset="0"/>
                        </a:rPr>
                        <a:t>x</a:t>
                      </a:r>
                    </a:p>
                  </a:txBody>
                  <a:tcPr marL="7247" marR="7247" marT="7247" marB="34786"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ctr"/>
                      <a:r>
                        <a:rPr lang="en-US" sz="1500" b="1" i="0" u="none" strike="noStrike">
                          <a:solidFill>
                            <a:srgbClr val="000000"/>
                          </a:solidFill>
                          <a:effectLst/>
                          <a:latin typeface="96 Sans" panose="020C0504020203020204" pitchFamily="34" charset="0"/>
                        </a:rPr>
                        <a:t>x</a:t>
                      </a:r>
                    </a:p>
                  </a:txBody>
                  <a:tcPr marL="7247" marR="7247" marT="7247" marB="34786"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378041748"/>
                  </a:ext>
                </a:extLst>
              </a:tr>
              <a:tr h="335690">
                <a:tc>
                  <a:txBody>
                    <a:bodyPr/>
                    <a:lstStyle/>
                    <a:p>
                      <a:pPr algn="l" fontAlgn="b"/>
                      <a:endParaRPr lang="en-US" sz="800" b="0" i="0" u="none" strike="noStrike">
                        <a:solidFill>
                          <a:srgbClr val="000000"/>
                        </a:solidFill>
                        <a:effectLst/>
                        <a:latin typeface="96 Sans" panose="020C0504020203020204" pitchFamily="34" charset="0"/>
                      </a:endParaRPr>
                    </a:p>
                  </a:txBody>
                  <a:tcPr marL="7247" marR="7247" marT="7247" marB="34786"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900" b="0" i="0" u="none" strike="noStrike">
                          <a:solidFill>
                            <a:srgbClr val="000000"/>
                          </a:solidFill>
                          <a:effectLst/>
                          <a:latin typeface="96 Sans" panose="020C0504020203020204" pitchFamily="34" charset="0"/>
                        </a:rPr>
                        <a:t>3</a:t>
                      </a:r>
                    </a:p>
                  </a:txBody>
                  <a:tcPr marL="7247" marR="7247" marT="7247" marB="34786"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900" b="0" i="0" u="sng" strike="noStrike">
                          <a:solidFill>
                            <a:srgbClr val="0563C1"/>
                          </a:solidFill>
                          <a:effectLst/>
                          <a:latin typeface="Calibri" panose="020F0502020204030204" pitchFamily="34" charset="0"/>
                          <a:hlinkClick r:id="rId7"/>
                        </a:rPr>
                        <a:t>Identify Security Owners and Provision Entitlements</a:t>
                      </a:r>
                      <a:endParaRPr lang="en-US" sz="900" b="0" i="0" u="sng" strike="noStrike">
                        <a:solidFill>
                          <a:srgbClr val="0563C1"/>
                        </a:solidFill>
                        <a:effectLst/>
                        <a:latin typeface="Calibri" panose="020F0502020204030204" pitchFamily="34" charset="0"/>
                      </a:endParaRPr>
                    </a:p>
                  </a:txBody>
                  <a:tcPr marL="65224" marR="7247" marT="7247" marB="34786"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96 Sans" panose="020C0504020203020204" pitchFamily="34" charset="0"/>
                        </a:rPr>
                        <a:t>Data Steward</a:t>
                      </a:r>
                    </a:p>
                  </a:txBody>
                  <a:tcPr marL="7247" marR="7247" marT="7247" marB="34786"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96 Sans" panose="020C0504020203020204" pitchFamily="34" charset="0"/>
                        </a:rPr>
                        <a:t>Technical SME </a:t>
                      </a:r>
                    </a:p>
                  </a:txBody>
                  <a:tcPr marL="7247" marR="7247" marT="7247" marB="34786"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800" b="0" i="0" u="none" strike="noStrike">
                        <a:solidFill>
                          <a:srgbClr val="000000"/>
                        </a:solidFill>
                        <a:effectLst/>
                        <a:latin typeface="96 Sans" panose="020C0504020203020204" pitchFamily="34" charset="0"/>
                      </a:endParaRPr>
                    </a:p>
                  </a:txBody>
                  <a:tcPr marL="7247" marR="7247" marT="7247" marB="34786"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CB9CA"/>
                    </a:solidFill>
                  </a:tcPr>
                </a:tc>
                <a:tc>
                  <a:txBody>
                    <a:bodyPr/>
                    <a:lstStyle/>
                    <a:p>
                      <a:pPr algn="ctr" fontAlgn="ctr"/>
                      <a:r>
                        <a:rPr lang="en-US" sz="1500" b="1" i="0" u="none" strike="noStrike">
                          <a:solidFill>
                            <a:srgbClr val="000000"/>
                          </a:solidFill>
                          <a:effectLst/>
                          <a:latin typeface="96 Sans" panose="020C0504020203020204" pitchFamily="34" charset="0"/>
                        </a:rPr>
                        <a:t>x</a:t>
                      </a:r>
                    </a:p>
                  </a:txBody>
                  <a:tcPr marL="7247" marR="7247" marT="7247" marB="34786"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ctr"/>
                      <a:r>
                        <a:rPr lang="en-US" sz="1500" b="1" i="0" u="none" strike="noStrike">
                          <a:solidFill>
                            <a:srgbClr val="000000"/>
                          </a:solidFill>
                          <a:effectLst/>
                          <a:latin typeface="96 Sans" panose="020C0504020203020204" pitchFamily="34" charset="0"/>
                        </a:rPr>
                        <a:t>x</a:t>
                      </a:r>
                    </a:p>
                  </a:txBody>
                  <a:tcPr marL="7247" marR="7247" marT="7247" marB="34786"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1818903234"/>
                  </a:ext>
                </a:extLst>
              </a:tr>
              <a:tr h="303792">
                <a:tc>
                  <a:txBody>
                    <a:bodyPr/>
                    <a:lstStyle/>
                    <a:p>
                      <a:pPr algn="l" fontAlgn="b"/>
                      <a:endParaRPr lang="en-US" sz="800" b="0" i="0" u="none" strike="noStrike">
                        <a:solidFill>
                          <a:srgbClr val="000000"/>
                        </a:solidFill>
                        <a:effectLst/>
                        <a:latin typeface="96 Sans" panose="020C0504020203020204" pitchFamily="34" charset="0"/>
                      </a:endParaRPr>
                    </a:p>
                  </a:txBody>
                  <a:tcPr marL="7247" marR="7247" marT="7247" marB="34786"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900" b="0" i="0" u="none" strike="noStrike">
                          <a:solidFill>
                            <a:srgbClr val="000000"/>
                          </a:solidFill>
                          <a:effectLst/>
                          <a:latin typeface="96 Sans" panose="020C0504020203020204" pitchFamily="34" charset="0"/>
                        </a:rPr>
                        <a:t>4</a:t>
                      </a:r>
                    </a:p>
                  </a:txBody>
                  <a:tcPr marL="7247" marR="7247" marT="7247" marB="34786"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900" b="0" i="0" u="sng" strike="noStrike">
                          <a:solidFill>
                            <a:srgbClr val="0563C1"/>
                          </a:solidFill>
                          <a:effectLst/>
                          <a:latin typeface="Calibri" panose="020F0502020204030204" pitchFamily="34" charset="0"/>
                          <a:hlinkClick r:id="rId8"/>
                        </a:rPr>
                        <a:t>Free the Data</a:t>
                      </a:r>
                      <a:endParaRPr lang="en-US" sz="900" b="0" i="0" u="sng" strike="noStrike">
                        <a:solidFill>
                          <a:srgbClr val="0563C1"/>
                        </a:solidFill>
                        <a:effectLst/>
                        <a:latin typeface="Calibri" panose="020F0502020204030204" pitchFamily="34" charset="0"/>
                      </a:endParaRPr>
                    </a:p>
                  </a:txBody>
                  <a:tcPr marL="65224" marR="7247" marT="7247" marB="34786"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96 Sans" panose="020C0504020203020204" pitchFamily="34" charset="0"/>
                        </a:rPr>
                        <a:t>Data Steward</a:t>
                      </a:r>
                    </a:p>
                  </a:txBody>
                  <a:tcPr marL="7247" marR="7247" marT="7247" marB="34786"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96 Sans" panose="020C0504020203020204" pitchFamily="34" charset="0"/>
                        </a:rPr>
                        <a:t>Data SME</a:t>
                      </a:r>
                    </a:p>
                  </a:txBody>
                  <a:tcPr marL="7247" marR="7247" marT="7247" marB="34786"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800" b="0" i="0" u="none" strike="noStrike">
                        <a:solidFill>
                          <a:srgbClr val="000000"/>
                        </a:solidFill>
                        <a:effectLst/>
                        <a:latin typeface="96 Sans" panose="020C0504020203020204" pitchFamily="34" charset="0"/>
                      </a:endParaRPr>
                    </a:p>
                  </a:txBody>
                  <a:tcPr marL="7247" marR="7247" marT="7247" marB="34786"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CB9CA"/>
                    </a:solidFill>
                  </a:tcPr>
                </a:tc>
                <a:tc>
                  <a:txBody>
                    <a:bodyPr/>
                    <a:lstStyle/>
                    <a:p>
                      <a:pPr algn="ctr" fontAlgn="ctr"/>
                      <a:r>
                        <a:rPr lang="en-US" sz="1500" b="1" i="0" u="none" strike="noStrike">
                          <a:solidFill>
                            <a:srgbClr val="000000"/>
                          </a:solidFill>
                          <a:effectLst/>
                          <a:latin typeface="96 Sans" panose="020C0504020203020204" pitchFamily="34" charset="0"/>
                        </a:rPr>
                        <a:t>x</a:t>
                      </a:r>
                    </a:p>
                  </a:txBody>
                  <a:tcPr marL="7247" marR="7247" marT="7247" marB="34786"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ctr"/>
                      <a:endParaRPr lang="en-US" sz="800" b="0" i="0" u="none" strike="noStrike">
                        <a:solidFill>
                          <a:srgbClr val="000000"/>
                        </a:solidFill>
                        <a:effectLst/>
                        <a:latin typeface="96 Sans" panose="020C0504020203020204" pitchFamily="34" charset="0"/>
                      </a:endParaRPr>
                    </a:p>
                  </a:txBody>
                  <a:tcPr marL="7247" marR="7247" marT="7247" marB="34786"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4061460077"/>
                  </a:ext>
                </a:extLst>
              </a:tr>
              <a:tr h="303792">
                <a:tc>
                  <a:txBody>
                    <a:bodyPr/>
                    <a:lstStyle/>
                    <a:p>
                      <a:pPr algn="l" fontAlgn="b"/>
                      <a:endParaRPr lang="en-US" sz="800" b="0" i="0" u="none" strike="noStrike">
                        <a:solidFill>
                          <a:srgbClr val="000000"/>
                        </a:solidFill>
                        <a:effectLst/>
                        <a:latin typeface="96 Sans" panose="020C0504020203020204" pitchFamily="34" charset="0"/>
                      </a:endParaRPr>
                    </a:p>
                  </a:txBody>
                  <a:tcPr marL="7247" marR="7247" marT="7247" marB="34786"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900" b="0" i="0" u="none" strike="noStrike">
                          <a:solidFill>
                            <a:srgbClr val="000000"/>
                          </a:solidFill>
                          <a:effectLst/>
                          <a:latin typeface="96 Sans" panose="020C0504020203020204" pitchFamily="34" charset="0"/>
                        </a:rPr>
                        <a:t>5</a:t>
                      </a:r>
                    </a:p>
                  </a:txBody>
                  <a:tcPr marL="7247" marR="7247" marT="7247" marB="34786"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900" b="0" i="0" u="sng" strike="noStrike">
                          <a:solidFill>
                            <a:srgbClr val="0563C1"/>
                          </a:solidFill>
                          <a:effectLst/>
                          <a:latin typeface="Calibri" panose="020F0502020204030204" pitchFamily="34" charset="0"/>
                          <a:hlinkClick r:id="rId9"/>
                        </a:rPr>
                        <a:t>Find the Data</a:t>
                      </a:r>
                      <a:endParaRPr lang="en-US" sz="900" b="0" i="0" u="sng" strike="noStrike">
                        <a:solidFill>
                          <a:srgbClr val="0563C1"/>
                        </a:solidFill>
                        <a:effectLst/>
                        <a:latin typeface="Calibri" panose="020F0502020204030204" pitchFamily="34" charset="0"/>
                      </a:endParaRPr>
                    </a:p>
                  </a:txBody>
                  <a:tcPr marL="65224" marR="7247" marT="7247" marB="34786"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96 Sans" panose="020C0504020203020204" pitchFamily="34" charset="0"/>
                        </a:rPr>
                        <a:t>Data Steward</a:t>
                      </a:r>
                    </a:p>
                  </a:txBody>
                  <a:tcPr marL="7247" marR="7247" marT="7247" marB="34786"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96 Sans" panose="020C0504020203020204" pitchFamily="34" charset="0"/>
                        </a:rPr>
                        <a:t>Data SME</a:t>
                      </a:r>
                    </a:p>
                  </a:txBody>
                  <a:tcPr marL="7247" marR="7247" marT="7247" marB="34786"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800" b="0" i="0" u="none" strike="noStrike">
                        <a:solidFill>
                          <a:srgbClr val="000000"/>
                        </a:solidFill>
                        <a:effectLst/>
                        <a:latin typeface="96 Sans" panose="020C0504020203020204" pitchFamily="34" charset="0"/>
                      </a:endParaRPr>
                    </a:p>
                  </a:txBody>
                  <a:tcPr marL="7247" marR="7247" marT="7247" marB="34786"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CB9CA"/>
                    </a:solidFill>
                  </a:tcPr>
                </a:tc>
                <a:tc>
                  <a:txBody>
                    <a:bodyPr/>
                    <a:lstStyle/>
                    <a:p>
                      <a:pPr algn="ctr" fontAlgn="ctr"/>
                      <a:r>
                        <a:rPr lang="en-US" sz="1500" b="1" i="0" u="none" strike="noStrike">
                          <a:solidFill>
                            <a:srgbClr val="000000"/>
                          </a:solidFill>
                          <a:effectLst/>
                          <a:latin typeface="96 Sans" panose="020C0504020203020204" pitchFamily="34" charset="0"/>
                        </a:rPr>
                        <a:t>x</a:t>
                      </a:r>
                    </a:p>
                  </a:txBody>
                  <a:tcPr marL="7247" marR="7247" marT="7247" marB="34786"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ctr"/>
                      <a:endParaRPr lang="en-US" sz="800" b="0" i="0" u="none" strike="noStrike">
                        <a:solidFill>
                          <a:srgbClr val="000000"/>
                        </a:solidFill>
                        <a:effectLst/>
                        <a:latin typeface="96 Sans" panose="020C0504020203020204" pitchFamily="34" charset="0"/>
                      </a:endParaRPr>
                    </a:p>
                  </a:txBody>
                  <a:tcPr marL="7247" marR="7247" marT="7247" marB="34786"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346143043"/>
                  </a:ext>
                </a:extLst>
              </a:tr>
              <a:tr h="311387">
                <a:tc>
                  <a:txBody>
                    <a:bodyPr/>
                    <a:lstStyle/>
                    <a:p>
                      <a:pPr algn="l" fontAlgn="b"/>
                      <a:endParaRPr lang="en-US" sz="800" b="0" i="0" u="none" strike="noStrike">
                        <a:solidFill>
                          <a:srgbClr val="000000"/>
                        </a:solidFill>
                        <a:effectLst/>
                        <a:latin typeface="96 Sans" panose="020C0504020203020204" pitchFamily="34" charset="0"/>
                      </a:endParaRPr>
                    </a:p>
                  </a:txBody>
                  <a:tcPr marL="7247" marR="7247" marT="7247" marB="34786"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900" b="0" i="0" u="none" strike="noStrike">
                          <a:solidFill>
                            <a:srgbClr val="000000"/>
                          </a:solidFill>
                          <a:effectLst/>
                          <a:latin typeface="96 Sans" panose="020C0504020203020204" pitchFamily="34" charset="0"/>
                        </a:rPr>
                        <a:t>6</a:t>
                      </a:r>
                    </a:p>
                  </a:txBody>
                  <a:tcPr marL="7247" marR="7247" marT="7247" marB="34786"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900" b="0" i="0" u="sng" strike="noStrike">
                          <a:solidFill>
                            <a:srgbClr val="0563C1"/>
                          </a:solidFill>
                          <a:effectLst/>
                          <a:latin typeface="Calibri" panose="020F0502020204030204" pitchFamily="34" charset="0"/>
                          <a:hlinkClick r:id="rId10"/>
                        </a:rPr>
                        <a:t>Business Documentation of Critical Data</a:t>
                      </a:r>
                      <a:endParaRPr lang="en-US" sz="900" b="0" i="0" u="sng" strike="noStrike">
                        <a:solidFill>
                          <a:srgbClr val="0563C1"/>
                        </a:solidFill>
                        <a:effectLst/>
                        <a:latin typeface="Calibri" panose="020F0502020204030204" pitchFamily="34" charset="0"/>
                      </a:endParaRPr>
                    </a:p>
                  </a:txBody>
                  <a:tcPr marL="65224" marR="7247" marT="7247" marB="34786"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96 Sans" panose="020C0504020203020204" pitchFamily="34" charset="0"/>
                        </a:rPr>
                        <a:t>Data Steward</a:t>
                      </a:r>
                    </a:p>
                  </a:txBody>
                  <a:tcPr marL="7247" marR="7247" marT="7247" marB="34786"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96 Sans" panose="020C0504020203020204" pitchFamily="34" charset="0"/>
                        </a:rPr>
                        <a:t>Data SME</a:t>
                      </a:r>
                    </a:p>
                  </a:txBody>
                  <a:tcPr marL="7247" marR="7247" marT="7247" marB="34786"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800" b="0" i="0" u="none" strike="noStrike">
                        <a:solidFill>
                          <a:srgbClr val="000000"/>
                        </a:solidFill>
                        <a:effectLst/>
                        <a:latin typeface="96 Sans" panose="020C0504020203020204" pitchFamily="34" charset="0"/>
                      </a:endParaRPr>
                    </a:p>
                  </a:txBody>
                  <a:tcPr marL="7247" marR="7247" marT="7247" marB="34786"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CB9CA"/>
                    </a:solidFill>
                  </a:tcPr>
                </a:tc>
                <a:tc>
                  <a:txBody>
                    <a:bodyPr/>
                    <a:lstStyle/>
                    <a:p>
                      <a:pPr algn="ctr" fontAlgn="ctr"/>
                      <a:r>
                        <a:rPr lang="en-US" sz="1500" b="1" i="0" u="none" strike="noStrike">
                          <a:solidFill>
                            <a:srgbClr val="000000"/>
                          </a:solidFill>
                          <a:effectLst/>
                          <a:latin typeface="96 Sans" panose="020C0504020203020204" pitchFamily="34" charset="0"/>
                        </a:rPr>
                        <a:t>x</a:t>
                      </a:r>
                    </a:p>
                  </a:txBody>
                  <a:tcPr marL="7247" marR="7247" marT="7247" marB="34786"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ctr"/>
                      <a:r>
                        <a:rPr lang="en-US" sz="1500" b="1" i="0" u="none" strike="noStrike">
                          <a:solidFill>
                            <a:srgbClr val="000000"/>
                          </a:solidFill>
                          <a:effectLst/>
                          <a:latin typeface="96 Sans" panose="020C0504020203020204" pitchFamily="34" charset="0"/>
                        </a:rPr>
                        <a:t>x</a:t>
                      </a:r>
                    </a:p>
                  </a:txBody>
                  <a:tcPr marL="7247" marR="7247" marT="7247" marB="34786"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3671268928"/>
                  </a:ext>
                </a:extLst>
              </a:tr>
              <a:tr h="335690">
                <a:tc>
                  <a:txBody>
                    <a:bodyPr/>
                    <a:lstStyle/>
                    <a:p>
                      <a:pPr algn="l" fontAlgn="b"/>
                      <a:endParaRPr lang="en-US" sz="800" b="0" i="0" u="none" strike="noStrike">
                        <a:solidFill>
                          <a:srgbClr val="000000"/>
                        </a:solidFill>
                        <a:effectLst/>
                        <a:latin typeface="96 Sans" panose="020C0504020203020204" pitchFamily="34" charset="0"/>
                      </a:endParaRPr>
                    </a:p>
                  </a:txBody>
                  <a:tcPr marL="7247" marR="7247" marT="7247" marB="34786"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900" b="0" i="0" u="none" strike="noStrike">
                          <a:solidFill>
                            <a:srgbClr val="000000"/>
                          </a:solidFill>
                          <a:effectLst/>
                          <a:latin typeface="96 Sans" panose="020C0504020203020204" pitchFamily="34" charset="0"/>
                        </a:rPr>
                        <a:t>7</a:t>
                      </a:r>
                    </a:p>
                  </a:txBody>
                  <a:tcPr marL="7247" marR="7247" marT="7247" marB="34786"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900" b="0" i="0" u="sng" strike="noStrike">
                          <a:solidFill>
                            <a:srgbClr val="0563C1"/>
                          </a:solidFill>
                          <a:effectLst/>
                          <a:latin typeface="Calibri" panose="020F0502020204030204" pitchFamily="34" charset="0"/>
                          <a:hlinkClick r:id="rId11"/>
                        </a:rPr>
                        <a:t>Data Sanitization in Non-Production Environment</a:t>
                      </a:r>
                      <a:endParaRPr lang="en-US" sz="900" b="0" i="0" u="sng" strike="noStrike">
                        <a:solidFill>
                          <a:srgbClr val="0563C1"/>
                        </a:solidFill>
                        <a:effectLst/>
                        <a:latin typeface="Calibri" panose="020F0502020204030204" pitchFamily="34" charset="0"/>
                      </a:endParaRPr>
                    </a:p>
                  </a:txBody>
                  <a:tcPr marL="65224" marR="7247" marT="7247" marB="34786"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96 Sans" panose="020C0504020203020204" pitchFamily="34" charset="0"/>
                        </a:rPr>
                        <a:t>Data SME</a:t>
                      </a:r>
                    </a:p>
                  </a:txBody>
                  <a:tcPr marL="7247" marR="7247" marT="7247" marB="34786"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96 Sans" panose="020C0504020203020204" pitchFamily="34" charset="0"/>
                        </a:rPr>
                        <a:t>Technical SME</a:t>
                      </a:r>
                    </a:p>
                  </a:txBody>
                  <a:tcPr marL="7247" marR="7247" marT="7247" marB="34786"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800" b="0" i="0" u="none" strike="noStrike">
                        <a:solidFill>
                          <a:srgbClr val="000000"/>
                        </a:solidFill>
                        <a:effectLst/>
                        <a:latin typeface="96 Sans" panose="020C0504020203020204" pitchFamily="34" charset="0"/>
                      </a:endParaRPr>
                    </a:p>
                  </a:txBody>
                  <a:tcPr marL="7247" marR="7247" marT="7247" marB="34786"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CB9CA"/>
                    </a:solidFill>
                  </a:tcPr>
                </a:tc>
                <a:tc>
                  <a:txBody>
                    <a:bodyPr/>
                    <a:lstStyle/>
                    <a:p>
                      <a:pPr algn="ctr" fontAlgn="ctr"/>
                      <a:r>
                        <a:rPr lang="en-US" sz="1500" b="1" i="0" u="none" strike="noStrike" dirty="0">
                          <a:solidFill>
                            <a:srgbClr val="000000"/>
                          </a:solidFill>
                          <a:effectLst/>
                          <a:latin typeface="96 Sans" panose="020C0504020203020204" pitchFamily="34" charset="0"/>
                        </a:rPr>
                        <a:t>x</a:t>
                      </a:r>
                    </a:p>
                  </a:txBody>
                  <a:tcPr marL="7247" marR="7247" marT="7247" marB="34786"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ctr"/>
                      <a:endParaRPr lang="en-US" sz="800" b="0" i="0" u="none" strike="noStrike">
                        <a:solidFill>
                          <a:srgbClr val="000000"/>
                        </a:solidFill>
                        <a:effectLst/>
                        <a:latin typeface="96 Sans" panose="020C0504020203020204" pitchFamily="34" charset="0"/>
                      </a:endParaRPr>
                    </a:p>
                  </a:txBody>
                  <a:tcPr marL="7247" marR="7247" marT="7247" marB="34786"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3347632287"/>
                  </a:ext>
                </a:extLst>
              </a:tr>
              <a:tr h="303792">
                <a:tc>
                  <a:txBody>
                    <a:bodyPr/>
                    <a:lstStyle/>
                    <a:p>
                      <a:pPr algn="l" fontAlgn="b"/>
                      <a:endParaRPr lang="en-US" sz="800" b="0" i="0" u="none" strike="noStrike">
                        <a:solidFill>
                          <a:srgbClr val="000000"/>
                        </a:solidFill>
                        <a:effectLst/>
                        <a:latin typeface="96 Sans" panose="020C0504020203020204" pitchFamily="34" charset="0"/>
                      </a:endParaRPr>
                    </a:p>
                  </a:txBody>
                  <a:tcPr marL="7247" marR="7247" marT="7247" marB="34786"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900" b="0" i="0" u="none" strike="noStrike">
                          <a:solidFill>
                            <a:srgbClr val="000000"/>
                          </a:solidFill>
                          <a:effectLst/>
                          <a:latin typeface="96 Sans" panose="020C0504020203020204" pitchFamily="34" charset="0"/>
                        </a:rPr>
                        <a:t>8</a:t>
                      </a:r>
                    </a:p>
                  </a:txBody>
                  <a:tcPr marL="7247" marR="7247" marT="7247" marB="34786"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900" b="0" i="0" u="sng" strike="noStrike">
                          <a:solidFill>
                            <a:srgbClr val="0563C1"/>
                          </a:solidFill>
                          <a:effectLst/>
                          <a:latin typeface="Calibri" panose="020F0502020204030204" pitchFamily="34" charset="0"/>
                          <a:hlinkClick r:id="rId12"/>
                        </a:rPr>
                        <a:t>Physical Naming Standards</a:t>
                      </a:r>
                      <a:endParaRPr lang="en-US" sz="900" b="0" i="0" u="sng" strike="noStrike">
                        <a:solidFill>
                          <a:srgbClr val="0563C1"/>
                        </a:solidFill>
                        <a:effectLst/>
                        <a:latin typeface="Calibri" panose="020F0502020204030204" pitchFamily="34" charset="0"/>
                      </a:endParaRPr>
                    </a:p>
                  </a:txBody>
                  <a:tcPr marL="65224" marR="7247" marT="7247" marB="34786"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96 Sans" panose="020C0504020203020204" pitchFamily="34" charset="0"/>
                        </a:rPr>
                        <a:t>Data Architect</a:t>
                      </a:r>
                    </a:p>
                  </a:txBody>
                  <a:tcPr marL="7247" marR="7247" marT="7247" marB="34786"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96 Sans" panose="020C0504020203020204" pitchFamily="34" charset="0"/>
                        </a:rPr>
                        <a:t>Technical SME</a:t>
                      </a:r>
                    </a:p>
                  </a:txBody>
                  <a:tcPr marL="7247" marR="7247" marT="7247" marB="34786"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800" b="0" i="0" u="none" strike="noStrike">
                        <a:solidFill>
                          <a:srgbClr val="000000"/>
                        </a:solidFill>
                        <a:effectLst/>
                        <a:latin typeface="96 Sans" panose="020C0504020203020204" pitchFamily="34" charset="0"/>
                      </a:endParaRPr>
                    </a:p>
                  </a:txBody>
                  <a:tcPr marL="7247" marR="7247" marT="7247" marB="34786"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CB9CA"/>
                    </a:solidFill>
                  </a:tcPr>
                </a:tc>
                <a:tc>
                  <a:txBody>
                    <a:bodyPr/>
                    <a:lstStyle/>
                    <a:p>
                      <a:pPr algn="ctr" fontAlgn="ctr"/>
                      <a:r>
                        <a:rPr lang="en-US" sz="1500" b="1" i="0" u="none" strike="noStrike">
                          <a:solidFill>
                            <a:srgbClr val="000000"/>
                          </a:solidFill>
                          <a:effectLst/>
                          <a:latin typeface="96 Sans" panose="020C0504020203020204" pitchFamily="34" charset="0"/>
                        </a:rPr>
                        <a:t>x</a:t>
                      </a:r>
                    </a:p>
                  </a:txBody>
                  <a:tcPr marL="7247" marR="7247" marT="7247" marB="34786"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ctr"/>
                      <a:r>
                        <a:rPr lang="en-US" sz="1500" b="1" i="0" u="none" strike="noStrike">
                          <a:solidFill>
                            <a:srgbClr val="000000"/>
                          </a:solidFill>
                          <a:effectLst/>
                          <a:latin typeface="96 Sans" panose="020C0504020203020204" pitchFamily="34" charset="0"/>
                        </a:rPr>
                        <a:t>x</a:t>
                      </a:r>
                    </a:p>
                  </a:txBody>
                  <a:tcPr marL="7247" marR="7247" marT="7247" marB="34786"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3259804233"/>
                  </a:ext>
                </a:extLst>
              </a:tr>
              <a:tr h="303792">
                <a:tc>
                  <a:txBody>
                    <a:bodyPr/>
                    <a:lstStyle/>
                    <a:p>
                      <a:pPr algn="l" fontAlgn="b"/>
                      <a:endParaRPr lang="en-US" sz="800" b="0" i="0" u="none" strike="noStrike">
                        <a:solidFill>
                          <a:srgbClr val="000000"/>
                        </a:solidFill>
                        <a:effectLst/>
                        <a:latin typeface="96 Sans" panose="020C0504020203020204" pitchFamily="34" charset="0"/>
                      </a:endParaRPr>
                    </a:p>
                  </a:txBody>
                  <a:tcPr marL="7247" marR="7247" marT="7247" marB="34786"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900" b="0" i="0" u="none" strike="noStrike">
                          <a:solidFill>
                            <a:srgbClr val="000000"/>
                          </a:solidFill>
                          <a:effectLst/>
                          <a:latin typeface="96 Sans" panose="020C0504020203020204" pitchFamily="34" charset="0"/>
                        </a:rPr>
                        <a:t>9</a:t>
                      </a:r>
                    </a:p>
                  </a:txBody>
                  <a:tcPr marL="7247" marR="7247" marT="7247" marB="34786"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ctr"/>
                      <a:r>
                        <a:rPr lang="en-US" sz="900" b="0" i="0" u="sng" strike="noStrike">
                          <a:solidFill>
                            <a:srgbClr val="0563C1"/>
                          </a:solidFill>
                          <a:effectLst/>
                          <a:latin typeface="Calibri" panose="020F0502020204030204" pitchFamily="34" charset="0"/>
                          <a:hlinkClick r:id="rId13"/>
                        </a:rPr>
                        <a:t>Data Flow Diagram</a:t>
                      </a:r>
                      <a:endParaRPr lang="en-US" sz="900" b="0" i="0" u="sng" strike="noStrike">
                        <a:solidFill>
                          <a:srgbClr val="0563C1"/>
                        </a:solidFill>
                        <a:effectLst/>
                        <a:latin typeface="Calibri" panose="020F0502020204030204" pitchFamily="34" charset="0"/>
                      </a:endParaRPr>
                    </a:p>
                  </a:txBody>
                  <a:tcPr marL="65224" marR="7247" marT="7247" marB="34786"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96 Sans" panose="020C0504020203020204" pitchFamily="34" charset="0"/>
                        </a:rPr>
                        <a:t>Data Architect</a:t>
                      </a:r>
                    </a:p>
                  </a:txBody>
                  <a:tcPr marL="7247" marR="7247" marT="7247" marB="34786"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96 Sans" panose="020C0504020203020204" pitchFamily="34" charset="0"/>
                        </a:rPr>
                        <a:t>Technical SME</a:t>
                      </a:r>
                    </a:p>
                  </a:txBody>
                  <a:tcPr marL="7247" marR="7247" marT="7247" marB="34786"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endParaRPr lang="en-US" sz="800" b="0" i="0" u="none" strike="noStrike">
                        <a:solidFill>
                          <a:srgbClr val="000000"/>
                        </a:solidFill>
                        <a:effectLst/>
                        <a:latin typeface="96 Sans" panose="020C0504020203020204" pitchFamily="34" charset="0"/>
                      </a:endParaRPr>
                    </a:p>
                  </a:txBody>
                  <a:tcPr marL="7247" marR="7247" marT="7247" marB="34786"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CB9CA"/>
                    </a:solidFill>
                  </a:tcPr>
                </a:tc>
                <a:tc>
                  <a:txBody>
                    <a:bodyPr/>
                    <a:lstStyle/>
                    <a:p>
                      <a:pPr algn="ctr" fontAlgn="ctr"/>
                      <a:r>
                        <a:rPr lang="en-US" sz="1500" b="1" i="0" u="none" strike="noStrike">
                          <a:solidFill>
                            <a:srgbClr val="000000"/>
                          </a:solidFill>
                          <a:effectLst/>
                          <a:latin typeface="96 Sans" panose="020C0504020203020204" pitchFamily="34" charset="0"/>
                        </a:rPr>
                        <a:t>x</a:t>
                      </a:r>
                    </a:p>
                  </a:txBody>
                  <a:tcPr marL="7247" marR="7247" marT="7247" marB="34786"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ctr" fontAlgn="ctr"/>
                      <a:endParaRPr lang="en-US" sz="800" b="0" i="0" u="none" strike="noStrike">
                        <a:solidFill>
                          <a:srgbClr val="000000"/>
                        </a:solidFill>
                        <a:effectLst/>
                        <a:latin typeface="96 Sans" panose="020C0504020203020204" pitchFamily="34" charset="0"/>
                      </a:endParaRPr>
                    </a:p>
                  </a:txBody>
                  <a:tcPr marL="7247" marR="7247" marT="7247" marB="34786"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380382181"/>
                  </a:ext>
                </a:extLst>
              </a:tr>
              <a:tr h="171820">
                <a:tc>
                  <a:txBody>
                    <a:bodyPr/>
                    <a:lstStyle/>
                    <a:p>
                      <a:pPr algn="l" fontAlgn="b"/>
                      <a:endParaRPr lang="en-US" sz="800" b="0" i="0" u="none" strike="noStrike">
                        <a:solidFill>
                          <a:srgbClr val="000000"/>
                        </a:solidFill>
                        <a:effectLst/>
                        <a:latin typeface="96 Sans" panose="020C0504020203020204" pitchFamily="34" charset="0"/>
                      </a:endParaRPr>
                    </a:p>
                  </a:txBody>
                  <a:tcPr marL="7247" marR="7247" marT="7247" marB="34786" anchor="b">
                    <a:lnL>
                      <a:noFill/>
                    </a:lnL>
                    <a:lnR>
                      <a:noFill/>
                    </a:lnR>
                    <a:lnT>
                      <a:noFill/>
                    </a:lnT>
                    <a:lnB>
                      <a:noFill/>
                    </a:lnB>
                  </a:tcPr>
                </a:tc>
                <a:tc>
                  <a:txBody>
                    <a:bodyPr/>
                    <a:lstStyle/>
                    <a:p>
                      <a:pPr algn="ctr" fontAlgn="ctr"/>
                      <a:endParaRPr lang="en-US" sz="800" b="0" i="0" u="none" strike="noStrike">
                        <a:solidFill>
                          <a:srgbClr val="000000"/>
                        </a:solidFill>
                        <a:effectLst/>
                        <a:latin typeface="96 Sans" panose="020C0504020203020204" pitchFamily="34" charset="0"/>
                      </a:endParaRPr>
                    </a:p>
                  </a:txBody>
                  <a:tcPr marL="7247" marR="7247" marT="7247" marB="34786"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algn="ctr" fontAlgn="ctr"/>
                      <a:endParaRPr lang="en-US" sz="800" b="0" i="0" u="none" strike="noStrike">
                        <a:solidFill>
                          <a:srgbClr val="000000"/>
                        </a:solidFill>
                        <a:effectLst/>
                        <a:latin typeface="96 Sans" panose="020C0504020203020204" pitchFamily="34" charset="0"/>
                      </a:endParaRPr>
                    </a:p>
                  </a:txBody>
                  <a:tcPr marL="7247" marR="7247" marT="7247" marB="34786"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endParaRPr lang="en-US" sz="800" b="0" i="0" u="none" strike="noStrike">
                        <a:solidFill>
                          <a:srgbClr val="000000"/>
                        </a:solidFill>
                        <a:effectLst/>
                        <a:latin typeface="96 Sans" panose="020C0504020203020204" pitchFamily="34" charset="0"/>
                      </a:endParaRPr>
                    </a:p>
                  </a:txBody>
                  <a:tcPr marL="7247" marR="7247" marT="7247" marB="34786"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endParaRPr lang="en-US" sz="800" b="0" i="0" u="none" strike="noStrike">
                        <a:solidFill>
                          <a:srgbClr val="000000"/>
                        </a:solidFill>
                        <a:effectLst/>
                        <a:latin typeface="96 Sans" panose="020C0504020203020204" pitchFamily="34" charset="0"/>
                      </a:endParaRPr>
                    </a:p>
                  </a:txBody>
                  <a:tcPr marL="7247" marR="7247" marT="7247" marB="34786"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endParaRPr lang="en-US" sz="800" b="1" i="0" u="none" strike="noStrike">
                        <a:solidFill>
                          <a:srgbClr val="000000"/>
                        </a:solidFill>
                        <a:effectLst/>
                        <a:latin typeface="96 Sans" panose="020C0504020203020204" pitchFamily="34" charset="0"/>
                      </a:endParaRPr>
                    </a:p>
                  </a:txBody>
                  <a:tcPr marL="7247" marR="7247" marT="7247" marB="34786"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endParaRPr lang="en-US" sz="800" b="1" i="0" u="none" strike="noStrike">
                        <a:solidFill>
                          <a:srgbClr val="000000"/>
                        </a:solidFill>
                        <a:effectLst/>
                        <a:latin typeface="96 Sans" panose="020C0504020203020204" pitchFamily="34" charset="0"/>
                      </a:endParaRPr>
                    </a:p>
                  </a:txBody>
                  <a:tcPr marL="7247" marR="7247" marT="7247" marB="34786"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endParaRPr lang="en-US" sz="800" b="1" i="0" u="none" strike="noStrike">
                        <a:solidFill>
                          <a:srgbClr val="000000"/>
                        </a:solidFill>
                        <a:effectLst/>
                        <a:latin typeface="96 Sans" panose="020C0504020203020204" pitchFamily="34" charset="0"/>
                      </a:endParaRPr>
                    </a:p>
                  </a:txBody>
                  <a:tcPr marL="7247" marR="7247" marT="7247" marB="34786"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92849399"/>
                  </a:ext>
                </a:extLst>
              </a:tr>
              <a:tr h="299590">
                <a:tc gridSpan="2">
                  <a:txBody>
                    <a:bodyPr/>
                    <a:lstStyle/>
                    <a:p>
                      <a:pPr algn="ctr" fontAlgn="ctr"/>
                      <a:r>
                        <a:rPr lang="en-US" sz="800" b="1" i="1" u="none" strike="noStrike">
                          <a:solidFill>
                            <a:srgbClr val="000000"/>
                          </a:solidFill>
                          <a:effectLst/>
                          <a:latin typeface="96 Sans" panose="020C0504020203020204" pitchFamily="34" charset="0"/>
                        </a:rPr>
                        <a:t>Database Type/ DBMS</a:t>
                      </a:r>
                    </a:p>
                  </a:txBody>
                  <a:tcPr marL="7247" marR="7247" marT="7247" marB="34786" anchor="ctr">
                    <a:lnL>
                      <a:noFill/>
                    </a:lnL>
                    <a:lnR w="12700" cap="flat" cmpd="sng" algn="ctr">
                      <a:solidFill>
                        <a:srgbClr val="000000"/>
                      </a:solidFill>
                      <a:prstDash val="solid"/>
                      <a:round/>
                      <a:headEnd type="none" w="med" len="med"/>
                      <a:tailEnd type="none" w="med" len="med"/>
                    </a:lnR>
                    <a:lnT>
                      <a:noFill/>
                    </a:lnT>
                    <a:lnB>
                      <a:noFill/>
                    </a:lnB>
                    <a:solidFill>
                      <a:srgbClr val="ACB9CA"/>
                    </a:solidFill>
                  </a:tcPr>
                </a:tc>
                <a:tc hMerge="1">
                  <a:txBody>
                    <a:bodyPr/>
                    <a:lstStyle/>
                    <a:p>
                      <a:endParaRPr lang="en-US"/>
                    </a:p>
                  </a:txBody>
                  <a:tcPr/>
                </a:tc>
                <a:tc gridSpan="6">
                  <a:txBody>
                    <a:bodyPr/>
                    <a:lstStyle/>
                    <a:p>
                      <a:pPr algn="l" fontAlgn="ctr"/>
                      <a:r>
                        <a:rPr lang="en-US" sz="800" b="0" i="1" u="none" strike="noStrike">
                          <a:solidFill>
                            <a:srgbClr val="000000"/>
                          </a:solidFill>
                          <a:effectLst/>
                          <a:latin typeface="96 Sans" panose="020C0504020203020204" pitchFamily="34" charset="0"/>
                        </a:rPr>
                        <a:t>The Datatbase type / Database Management System (DBMS) platform where data will land or reside; the target. For example, Snowflake, DB2, Oracle, Mongo DB, etc.</a:t>
                      </a:r>
                    </a:p>
                  </a:txBody>
                  <a:tcPr marL="7247" marR="7247" marT="7247" marB="34786"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325941638"/>
                  </a:ext>
                </a:extLst>
              </a:tr>
              <a:tr h="326577">
                <a:tc gridSpan="2">
                  <a:txBody>
                    <a:bodyPr/>
                    <a:lstStyle/>
                    <a:p>
                      <a:pPr algn="ctr" fontAlgn="ctr"/>
                      <a:r>
                        <a:rPr lang="en-US" sz="800" b="1" i="1" u="none" strike="noStrike">
                          <a:solidFill>
                            <a:srgbClr val="000000"/>
                          </a:solidFill>
                          <a:effectLst/>
                          <a:latin typeface="96 Sans" panose="020C0504020203020204" pitchFamily="34" charset="0"/>
                        </a:rPr>
                        <a:t>Support Type</a:t>
                      </a:r>
                    </a:p>
                  </a:txBody>
                  <a:tcPr marL="7247" marR="7247" marT="7247" marB="34786" anchor="ctr">
                    <a:lnL>
                      <a:noFill/>
                    </a:lnL>
                    <a:lnR w="12700" cap="flat" cmpd="sng" algn="ctr">
                      <a:solidFill>
                        <a:srgbClr val="000000"/>
                      </a:solidFill>
                      <a:prstDash val="solid"/>
                      <a:round/>
                      <a:headEnd type="none" w="med" len="med"/>
                      <a:tailEnd type="none" w="med" len="med"/>
                    </a:lnR>
                    <a:lnT>
                      <a:noFill/>
                    </a:lnT>
                    <a:lnB>
                      <a:noFill/>
                    </a:lnB>
                    <a:solidFill>
                      <a:srgbClr val="ACB9CA"/>
                    </a:solidFill>
                  </a:tcPr>
                </a:tc>
                <a:tc hMerge="1">
                  <a:txBody>
                    <a:bodyPr/>
                    <a:lstStyle/>
                    <a:p>
                      <a:endParaRPr lang="en-US"/>
                    </a:p>
                  </a:txBody>
                  <a:tcPr/>
                </a:tc>
                <a:tc gridSpan="6">
                  <a:txBody>
                    <a:bodyPr/>
                    <a:lstStyle/>
                    <a:p>
                      <a:pPr algn="l" fontAlgn="ctr"/>
                      <a:r>
                        <a:rPr lang="en-US" sz="800" b="1" i="1" u="none" strike="noStrike" dirty="0">
                          <a:solidFill>
                            <a:srgbClr val="000000"/>
                          </a:solidFill>
                          <a:effectLst/>
                          <a:latin typeface="96 Sans" panose="020C0504020203020204" pitchFamily="34" charset="0"/>
                        </a:rPr>
                        <a:t>IT Supported </a:t>
                      </a:r>
                      <a:r>
                        <a:rPr lang="en-US" sz="800" b="0" i="1" u="none" strike="noStrike" dirty="0">
                          <a:solidFill>
                            <a:srgbClr val="000000"/>
                          </a:solidFill>
                          <a:effectLst/>
                          <a:latin typeface="96 Sans" panose="020C0504020203020204" pitchFamily="34" charset="0"/>
                        </a:rPr>
                        <a:t>- The work effort is supported by an IT group or team</a:t>
                      </a:r>
                      <a:br>
                        <a:rPr lang="en-US" sz="800" b="0" i="1" u="none" strike="noStrike" dirty="0">
                          <a:solidFill>
                            <a:srgbClr val="000000"/>
                          </a:solidFill>
                          <a:effectLst/>
                          <a:latin typeface="96 Sans" panose="020C0504020203020204" pitchFamily="34" charset="0"/>
                        </a:rPr>
                      </a:br>
                      <a:r>
                        <a:rPr lang="en-US" sz="800" b="1" i="1" u="none" strike="noStrike" dirty="0">
                          <a:solidFill>
                            <a:srgbClr val="000000"/>
                          </a:solidFill>
                          <a:effectLst/>
                          <a:latin typeface="96 Sans" panose="020C0504020203020204" pitchFamily="34" charset="0"/>
                        </a:rPr>
                        <a:t>Non-IT Supported</a:t>
                      </a:r>
                      <a:r>
                        <a:rPr lang="en-US" sz="800" b="0" i="1" u="none" strike="noStrike" dirty="0">
                          <a:solidFill>
                            <a:srgbClr val="000000"/>
                          </a:solidFill>
                          <a:effectLst/>
                          <a:latin typeface="96 Sans" panose="020C0504020203020204" pitchFamily="34" charset="0"/>
                        </a:rPr>
                        <a:t> - The work effort is supported by business or data science.</a:t>
                      </a:r>
                    </a:p>
                  </a:txBody>
                  <a:tcPr marL="7247" marR="7247" marT="7247" marB="34786"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091271852"/>
                  </a:ext>
                </a:extLst>
              </a:tr>
            </a:tbl>
          </a:graphicData>
        </a:graphic>
      </p:graphicFrame>
    </p:spTree>
    <p:extLst>
      <p:ext uri="{BB962C8B-B14F-4D97-AF65-F5344CB8AC3E}">
        <p14:creationId xmlns:p14="http://schemas.microsoft.com/office/powerpoint/2010/main" val="212953616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F9D5AE-F3B9-9948-9F1C-74299496497A}"/>
              </a:ext>
            </a:extLst>
          </p:cNvPr>
          <p:cNvSpPr>
            <a:spLocks noGrp="1"/>
          </p:cNvSpPr>
          <p:nvPr>
            <p:ph type="title"/>
          </p:nvPr>
        </p:nvSpPr>
        <p:spPr>
          <a:xfrm>
            <a:off x="287079" y="167664"/>
            <a:ext cx="11904921" cy="549257"/>
          </a:xfrm>
        </p:spPr>
        <p:txBody>
          <a:bodyPr/>
          <a:lstStyle/>
          <a:p>
            <a:r>
              <a:rPr lang="en-US" dirty="0"/>
              <a:t>Data Engagement Lifecycle – Integrated in Project Methodologies</a:t>
            </a:r>
          </a:p>
        </p:txBody>
      </p:sp>
      <p:pic>
        <p:nvPicPr>
          <p:cNvPr id="3" name="Picture 2">
            <a:extLst>
              <a:ext uri="{FF2B5EF4-FFF2-40B4-BE49-F238E27FC236}">
                <a16:creationId xmlns:a16="http://schemas.microsoft.com/office/drawing/2014/main" id="{8306516A-C225-758D-AB7F-E6A5B8348273}"/>
              </a:ext>
            </a:extLst>
          </p:cNvPr>
          <p:cNvPicPr>
            <a:picLocks noChangeAspect="1"/>
          </p:cNvPicPr>
          <p:nvPr/>
        </p:nvPicPr>
        <p:blipFill rotWithShape="1">
          <a:blip r:embed="rId3"/>
          <a:srcRect t="7316"/>
          <a:stretch/>
        </p:blipFill>
        <p:spPr>
          <a:xfrm>
            <a:off x="554182" y="831004"/>
            <a:ext cx="10611293" cy="5195991"/>
          </a:xfrm>
          <a:prstGeom prst="rect">
            <a:avLst/>
          </a:prstGeom>
        </p:spPr>
      </p:pic>
    </p:spTree>
    <p:extLst>
      <p:ext uri="{BB962C8B-B14F-4D97-AF65-F5344CB8AC3E}">
        <p14:creationId xmlns:p14="http://schemas.microsoft.com/office/powerpoint/2010/main" val="341346305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4E072F-778A-CF6B-0359-E433353B8A01}"/>
              </a:ext>
            </a:extLst>
          </p:cNvPr>
          <p:cNvSpPr>
            <a:spLocks noGrp="1"/>
          </p:cNvSpPr>
          <p:nvPr>
            <p:ph type="title"/>
          </p:nvPr>
        </p:nvSpPr>
        <p:spPr/>
        <p:txBody>
          <a:bodyPr/>
          <a:lstStyle/>
          <a:p>
            <a:r>
              <a:rPr lang="en-US" b="1" dirty="0"/>
              <a:t>Data Governance Capabilities and Processes</a:t>
            </a:r>
          </a:p>
        </p:txBody>
      </p:sp>
      <p:graphicFrame>
        <p:nvGraphicFramePr>
          <p:cNvPr id="8" name="Content Placeholder 7">
            <a:extLst>
              <a:ext uri="{FF2B5EF4-FFF2-40B4-BE49-F238E27FC236}">
                <a16:creationId xmlns:a16="http://schemas.microsoft.com/office/drawing/2014/main" id="{BCE576E5-8806-3F70-5FD1-53E36C1B5D04}"/>
              </a:ext>
            </a:extLst>
          </p:cNvPr>
          <p:cNvGraphicFramePr>
            <a:graphicFrameLocks noGrp="1"/>
          </p:cNvGraphicFramePr>
          <p:nvPr>
            <p:ph idx="1"/>
            <p:extLst>
              <p:ext uri="{D42A27DB-BD31-4B8C-83A1-F6EECF244321}">
                <p14:modId xmlns:p14="http://schemas.microsoft.com/office/powerpoint/2010/main" val="2784862750"/>
              </p:ext>
            </p:extLst>
          </p:nvPr>
        </p:nvGraphicFramePr>
        <p:xfrm>
          <a:off x="554038" y="1096995"/>
          <a:ext cx="11083925" cy="463232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9" name="Group 8">
            <a:extLst>
              <a:ext uri="{FF2B5EF4-FFF2-40B4-BE49-F238E27FC236}">
                <a16:creationId xmlns:a16="http://schemas.microsoft.com/office/drawing/2014/main" id="{2C93BFE3-B8B6-A7F4-5B4E-4806DAFAA426}"/>
              </a:ext>
            </a:extLst>
          </p:cNvPr>
          <p:cNvGrpSpPr/>
          <p:nvPr/>
        </p:nvGrpSpPr>
        <p:grpSpPr>
          <a:xfrm>
            <a:off x="5270913" y="1105786"/>
            <a:ext cx="1650173" cy="1539328"/>
            <a:chOff x="914400" y="2769704"/>
            <a:chExt cx="1676086" cy="1656522"/>
          </a:xfrm>
        </p:grpSpPr>
        <p:sp>
          <p:nvSpPr>
            <p:cNvPr id="10" name="Oval 9">
              <a:extLst>
                <a:ext uri="{FF2B5EF4-FFF2-40B4-BE49-F238E27FC236}">
                  <a16:creationId xmlns:a16="http://schemas.microsoft.com/office/drawing/2014/main" id="{72C324A3-47A3-B745-7BE9-D264BC430229}"/>
                </a:ext>
              </a:extLst>
            </p:cNvPr>
            <p:cNvSpPr/>
            <p:nvPr/>
          </p:nvSpPr>
          <p:spPr>
            <a:xfrm>
              <a:off x="914400" y="2769704"/>
              <a:ext cx="1676086" cy="1656522"/>
            </a:xfrm>
            <a:prstGeom prst="ellipse">
              <a:avLst/>
            </a:prstGeom>
            <a:solidFill>
              <a:srgbClr val="1442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pic>
          <p:nvPicPr>
            <p:cNvPr id="11" name="Picture 10">
              <a:extLst>
                <a:ext uri="{FF2B5EF4-FFF2-40B4-BE49-F238E27FC236}">
                  <a16:creationId xmlns:a16="http://schemas.microsoft.com/office/drawing/2014/main" id="{A4B3E7C0-AF57-2F47-F055-21AAA90D4412}"/>
                </a:ext>
              </a:extLst>
            </p:cNvPr>
            <p:cNvPicPr>
              <a:picLocks noChangeAspect="1"/>
            </p:cNvPicPr>
            <p:nvPr/>
          </p:nvPicPr>
          <p:blipFill>
            <a:blip r:embed="rId8">
              <a:clrChange>
                <a:clrFrom>
                  <a:srgbClr val="222222"/>
                </a:clrFrom>
                <a:clrTo>
                  <a:srgbClr val="222222">
                    <a:alpha val="0"/>
                  </a:srgbClr>
                </a:clrTo>
              </a:clrChange>
            </a:blip>
            <a:stretch>
              <a:fillRect/>
            </a:stretch>
          </p:blipFill>
          <p:spPr>
            <a:xfrm>
              <a:off x="1011538" y="3098522"/>
              <a:ext cx="1488750" cy="998885"/>
            </a:xfrm>
            <a:prstGeom prst="rect">
              <a:avLst/>
            </a:prstGeom>
          </p:spPr>
        </p:pic>
      </p:grpSp>
      <p:sp>
        <p:nvSpPr>
          <p:cNvPr id="12" name="Rectangle 11">
            <a:extLst>
              <a:ext uri="{FF2B5EF4-FFF2-40B4-BE49-F238E27FC236}">
                <a16:creationId xmlns:a16="http://schemas.microsoft.com/office/drawing/2014/main" id="{8F8EB721-FD4E-9433-24FC-0CAA64E1F6E4}"/>
              </a:ext>
            </a:extLst>
          </p:cNvPr>
          <p:cNvSpPr/>
          <p:nvPr/>
        </p:nvSpPr>
        <p:spPr>
          <a:xfrm>
            <a:off x="989971" y="1272915"/>
            <a:ext cx="3610325" cy="1384995"/>
          </a:xfrm>
          <a:prstGeom prst="rect">
            <a:avLst/>
          </a:prstGeom>
        </p:spPr>
        <p:txBody>
          <a:bodyPr wrap="square">
            <a:spAutoFit/>
          </a:bodyPr>
          <a:lstStyle/>
          <a:p>
            <a:pPr algn="ctr">
              <a:defRPr/>
            </a:pPr>
            <a:r>
              <a:rPr lang="en-US" sz="1400" dirty="0">
                <a:solidFill>
                  <a:schemeClr val="bg1"/>
                </a:solidFill>
                <a:latin typeface="+mj-lt"/>
              </a:rPr>
              <a:t>Enterprise data catalog platform which allows users to discover, explore and gain access to trustworthy data</a:t>
            </a:r>
            <a:br>
              <a:rPr lang="en-US" sz="1400" dirty="0">
                <a:solidFill>
                  <a:schemeClr val="bg1"/>
                </a:solidFill>
                <a:latin typeface="+mj-lt"/>
              </a:rPr>
            </a:br>
            <a:br>
              <a:rPr lang="en-US" sz="1400" dirty="0">
                <a:solidFill>
                  <a:schemeClr val="bg1"/>
                </a:solidFill>
                <a:latin typeface="+mj-lt"/>
              </a:rPr>
            </a:br>
            <a:r>
              <a:rPr lang="en-US" sz="1400" b="1" dirty="0">
                <a:solidFill>
                  <a:schemeClr val="bg1"/>
                </a:solidFill>
                <a:hlinkClick r:id="rId9">
                  <a:extLst>
                    <a:ext uri="{A12FA001-AC4F-418D-AE19-62706E023703}">
                      <ahyp:hlinkClr xmlns:ahyp="http://schemas.microsoft.com/office/drawing/2018/hyperlinkcolor" val="tx"/>
                    </a:ext>
                  </a:extLst>
                </a:hlinkClick>
              </a:rPr>
              <a:t>http://dig/</a:t>
            </a:r>
            <a:endParaRPr lang="en-US" sz="1400" b="1" dirty="0">
              <a:solidFill>
                <a:schemeClr val="bg1"/>
              </a:solidFill>
            </a:endParaRPr>
          </a:p>
          <a:p>
            <a:pPr algn="ctr">
              <a:defRPr/>
            </a:pPr>
            <a:endParaRPr lang="en-US" sz="1400" dirty="0">
              <a:solidFill>
                <a:schemeClr val="bg1"/>
              </a:solidFill>
              <a:latin typeface="+mj-lt"/>
            </a:endParaRPr>
          </a:p>
        </p:txBody>
      </p:sp>
      <p:sp>
        <p:nvSpPr>
          <p:cNvPr id="13" name="TextBox 12">
            <a:extLst>
              <a:ext uri="{FF2B5EF4-FFF2-40B4-BE49-F238E27FC236}">
                <a16:creationId xmlns:a16="http://schemas.microsoft.com/office/drawing/2014/main" id="{0BC52C93-30E6-3A07-7484-0AB706F58CB3}"/>
              </a:ext>
            </a:extLst>
          </p:cNvPr>
          <p:cNvSpPr txBox="1"/>
          <p:nvPr/>
        </p:nvSpPr>
        <p:spPr>
          <a:xfrm>
            <a:off x="7113906" y="1272915"/>
            <a:ext cx="4650881" cy="954107"/>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400" b="1" dirty="0" err="1">
                <a:solidFill>
                  <a:schemeClr val="bg1"/>
                </a:solidFill>
                <a:hlinkClick r:id="rId10">
                  <a:extLst>
                    <a:ext uri="{A12FA001-AC4F-418D-AE19-62706E023703}">
                      <ahyp:hlinkClr xmlns:ahyp="http://schemas.microsoft.com/office/drawing/2018/hyperlinkcolor" val="tx"/>
                    </a:ext>
                  </a:extLst>
                </a:hlinkClick>
              </a:rPr>
              <a:t>FindTheData</a:t>
            </a:r>
            <a:r>
              <a:rPr lang="en-US" sz="1400" b="1" dirty="0">
                <a:solidFill>
                  <a:schemeClr val="bg1"/>
                </a:solidFill>
                <a:hlinkClick r:id="rId10">
                  <a:extLst>
                    <a:ext uri="{A12FA001-AC4F-418D-AE19-62706E023703}">
                      <ahyp:hlinkClr xmlns:ahyp="http://schemas.microsoft.com/office/drawing/2018/hyperlinkcolor" val="tx"/>
                    </a:ext>
                  </a:extLst>
                </a:hlinkClick>
              </a:rPr>
              <a:t>/</a:t>
            </a:r>
            <a:r>
              <a:rPr lang="en-US" sz="1400" b="1" kern="0" dirty="0">
                <a:solidFill>
                  <a:schemeClr val="bg1"/>
                </a:solidFill>
                <a:latin typeface="Arial" panose="020B0604020202020204"/>
              </a:rPr>
              <a:t> </a:t>
            </a:r>
            <a:r>
              <a:rPr lang="en-US" sz="1400" kern="0" dirty="0">
                <a:solidFill>
                  <a:schemeClr val="bg1"/>
                </a:solidFill>
                <a:latin typeface="Arial" panose="020B0604020202020204"/>
              </a:rPr>
              <a:t>– </a:t>
            </a:r>
            <a:r>
              <a:rPr lang="en-US" sz="1400" dirty="0">
                <a:solidFill>
                  <a:schemeClr val="bg1"/>
                </a:solidFill>
                <a:latin typeface="+mj-lt"/>
              </a:rPr>
              <a:t>Tableau List of security entitlements for various data stores throughout PRG</a:t>
            </a:r>
            <a:endParaRPr lang="en-US" sz="1400" kern="0" dirty="0">
              <a:solidFill>
                <a:schemeClr val="bg1"/>
              </a:solidFill>
              <a:latin typeface="Arial" panose="020B0604020202020204"/>
            </a:endParaRPr>
          </a:p>
          <a:p>
            <a:pPr marL="0" marR="0" lvl="0" indent="0" defTabSz="914400" eaLnBrk="1" fontAlgn="auto" latinLnBrk="0" hangingPunct="1">
              <a:lnSpc>
                <a:spcPct val="100000"/>
              </a:lnSpc>
              <a:spcBef>
                <a:spcPts val="0"/>
              </a:spcBef>
              <a:spcAft>
                <a:spcPts val="0"/>
              </a:spcAft>
              <a:buClrTx/>
              <a:buSzTx/>
              <a:buFontTx/>
              <a:buNone/>
              <a:tabLst/>
              <a:defRPr/>
            </a:pPr>
            <a:r>
              <a:rPr lang="en-US" sz="1400" b="1" dirty="0" err="1">
                <a:solidFill>
                  <a:schemeClr val="bg1"/>
                </a:solidFill>
                <a:hlinkClick r:id="rId11">
                  <a:extLst>
                    <a:ext uri="{A12FA001-AC4F-418D-AE19-62706E023703}">
                      <ahyp:hlinkClr xmlns:ahyp="http://schemas.microsoft.com/office/drawing/2018/hyperlinkcolor" val="tx"/>
                    </a:ext>
                  </a:extLst>
                </a:hlinkClick>
              </a:rPr>
              <a:t>FreeTheData</a:t>
            </a:r>
            <a:r>
              <a:rPr lang="en-US" sz="1400" b="1" dirty="0">
                <a:solidFill>
                  <a:schemeClr val="bg1"/>
                </a:solidFill>
                <a:hlinkClick r:id="rId11">
                  <a:extLst>
                    <a:ext uri="{A12FA001-AC4F-418D-AE19-62706E023703}">
                      <ahyp:hlinkClr xmlns:ahyp="http://schemas.microsoft.com/office/drawing/2018/hyperlinkcolor" val="tx"/>
                    </a:ext>
                  </a:extLst>
                </a:hlinkClick>
              </a:rPr>
              <a:t>/</a:t>
            </a:r>
            <a:r>
              <a:rPr lang="en-US" sz="1400" b="1" kern="0" dirty="0">
                <a:solidFill>
                  <a:schemeClr val="bg1"/>
                </a:solidFill>
                <a:latin typeface="Arial" panose="020B0604020202020204"/>
              </a:rPr>
              <a:t> </a:t>
            </a:r>
            <a:r>
              <a:rPr lang="en-US" sz="1400" kern="0" dirty="0">
                <a:solidFill>
                  <a:schemeClr val="bg1"/>
                </a:solidFill>
                <a:latin typeface="Arial" panose="020B0604020202020204"/>
              </a:rPr>
              <a:t>– </a:t>
            </a:r>
            <a:r>
              <a:rPr lang="en-US" sz="1400" dirty="0">
                <a:solidFill>
                  <a:schemeClr val="bg1"/>
                </a:solidFill>
                <a:latin typeface="+mj-lt"/>
              </a:rPr>
              <a:t>The Free the Data program helps our analyst community to seamlessly gain access to qualifying data. </a:t>
            </a:r>
          </a:p>
        </p:txBody>
      </p:sp>
    </p:spTree>
    <p:extLst>
      <p:ext uri="{BB962C8B-B14F-4D97-AF65-F5344CB8AC3E}">
        <p14:creationId xmlns:p14="http://schemas.microsoft.com/office/powerpoint/2010/main" val="51561641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0B35E58-1927-E503-758D-47CF90439D3E}"/>
              </a:ext>
            </a:extLst>
          </p:cNvPr>
          <p:cNvSpPr>
            <a:spLocks noGrp="1"/>
          </p:cNvSpPr>
          <p:nvPr>
            <p:ph type="ctrTitle"/>
          </p:nvPr>
        </p:nvSpPr>
        <p:spPr/>
        <p:txBody>
          <a:bodyPr/>
          <a:lstStyle/>
          <a:p>
            <a:r>
              <a:rPr lang="en-US" dirty="0"/>
              <a:t>Questions?</a:t>
            </a:r>
          </a:p>
        </p:txBody>
      </p:sp>
    </p:spTree>
    <p:extLst>
      <p:ext uri="{BB962C8B-B14F-4D97-AF65-F5344CB8AC3E}">
        <p14:creationId xmlns:p14="http://schemas.microsoft.com/office/powerpoint/2010/main" val="274768797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D912F69-CE94-46B3-B5A4-9536255A1392}"/>
              </a:ext>
            </a:extLst>
          </p:cNvPr>
          <p:cNvPicPr>
            <a:picLocks noChangeAspect="1"/>
          </p:cNvPicPr>
          <p:nvPr/>
        </p:nvPicPr>
        <p:blipFill rotWithShape="1">
          <a:blip r:embed="rId3"/>
          <a:srcRect l="3388" r="767" b="1"/>
          <a:stretch/>
        </p:blipFill>
        <p:spPr>
          <a:xfrm>
            <a:off x="120650" y="68263"/>
            <a:ext cx="11129963" cy="6270625"/>
          </a:xfrm>
          <a:prstGeom prst="rect">
            <a:avLst/>
          </a:prstGeom>
          <a:noFill/>
        </p:spPr>
      </p:pic>
    </p:spTree>
    <p:extLst>
      <p:ext uri="{BB962C8B-B14F-4D97-AF65-F5344CB8AC3E}">
        <p14:creationId xmlns:p14="http://schemas.microsoft.com/office/powerpoint/2010/main" val="9700847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9370061D-AE93-4784-A9D1-BF22B60AFE32}"/>
              </a:ext>
            </a:extLst>
          </p:cNvPr>
          <p:cNvSpPr txBox="1">
            <a:spLocks/>
          </p:cNvSpPr>
          <p:nvPr/>
        </p:nvSpPr>
        <p:spPr>
          <a:xfrm>
            <a:off x="2045983" y="380669"/>
            <a:ext cx="8100034" cy="401597"/>
          </a:xfrm>
          <a:prstGeom prst="rect">
            <a:avLst/>
          </a:prstGeom>
        </p:spPr>
        <p:txBody>
          <a:bodyPr/>
          <a:lstStyle>
            <a:lvl1pPr algn="l" defTabSz="913526" rtl="0" fontAlgn="base">
              <a:spcBef>
                <a:spcPct val="0"/>
              </a:spcBef>
              <a:spcAft>
                <a:spcPct val="0"/>
              </a:spcAft>
              <a:defRPr sz="2041" b="1">
                <a:solidFill>
                  <a:schemeClr val="tx2"/>
                </a:solidFill>
                <a:latin typeface="+mn-lt"/>
                <a:ea typeface="+mj-ea"/>
                <a:cs typeface="+mj-cs"/>
              </a:defRPr>
            </a:lvl1pPr>
            <a:lvl2pPr algn="l" defTabSz="913526" rtl="0" fontAlgn="base">
              <a:spcBef>
                <a:spcPct val="0"/>
              </a:spcBef>
              <a:spcAft>
                <a:spcPct val="0"/>
              </a:spcAft>
              <a:defRPr sz="1939" b="1">
                <a:solidFill>
                  <a:schemeClr val="tx2"/>
                </a:solidFill>
                <a:latin typeface="Arial" charset="0"/>
              </a:defRPr>
            </a:lvl2pPr>
            <a:lvl3pPr algn="l" defTabSz="913526" rtl="0" fontAlgn="base">
              <a:spcBef>
                <a:spcPct val="0"/>
              </a:spcBef>
              <a:spcAft>
                <a:spcPct val="0"/>
              </a:spcAft>
              <a:defRPr sz="1939" b="1">
                <a:solidFill>
                  <a:schemeClr val="tx2"/>
                </a:solidFill>
                <a:latin typeface="Arial" charset="0"/>
              </a:defRPr>
            </a:lvl3pPr>
            <a:lvl4pPr algn="l" defTabSz="913526" rtl="0" fontAlgn="base">
              <a:spcBef>
                <a:spcPct val="0"/>
              </a:spcBef>
              <a:spcAft>
                <a:spcPct val="0"/>
              </a:spcAft>
              <a:defRPr sz="1939" b="1">
                <a:solidFill>
                  <a:schemeClr val="tx2"/>
                </a:solidFill>
                <a:latin typeface="Arial" charset="0"/>
              </a:defRPr>
            </a:lvl4pPr>
            <a:lvl5pPr algn="l" defTabSz="913526" rtl="0" fontAlgn="base">
              <a:spcBef>
                <a:spcPct val="0"/>
              </a:spcBef>
              <a:spcAft>
                <a:spcPct val="0"/>
              </a:spcAft>
              <a:defRPr sz="1939" b="1">
                <a:solidFill>
                  <a:schemeClr val="tx2"/>
                </a:solidFill>
                <a:latin typeface="Arial" charset="0"/>
              </a:defRPr>
            </a:lvl5pPr>
            <a:lvl6pPr marL="466481" algn="l" defTabSz="913526" rtl="0" fontAlgn="base">
              <a:spcBef>
                <a:spcPct val="0"/>
              </a:spcBef>
              <a:spcAft>
                <a:spcPct val="0"/>
              </a:spcAft>
              <a:defRPr sz="1939" b="1">
                <a:solidFill>
                  <a:schemeClr val="tx2"/>
                </a:solidFill>
                <a:latin typeface="Arial" charset="0"/>
              </a:defRPr>
            </a:lvl6pPr>
            <a:lvl7pPr marL="932962" algn="l" defTabSz="913526" rtl="0" fontAlgn="base">
              <a:spcBef>
                <a:spcPct val="0"/>
              </a:spcBef>
              <a:spcAft>
                <a:spcPct val="0"/>
              </a:spcAft>
              <a:defRPr sz="1939" b="1">
                <a:solidFill>
                  <a:schemeClr val="tx2"/>
                </a:solidFill>
                <a:latin typeface="Arial" charset="0"/>
              </a:defRPr>
            </a:lvl7pPr>
            <a:lvl8pPr marL="1399443" algn="l" defTabSz="913526" rtl="0" fontAlgn="base">
              <a:spcBef>
                <a:spcPct val="0"/>
              </a:spcBef>
              <a:spcAft>
                <a:spcPct val="0"/>
              </a:spcAft>
              <a:defRPr sz="1939" b="1">
                <a:solidFill>
                  <a:schemeClr val="tx2"/>
                </a:solidFill>
                <a:latin typeface="Arial" charset="0"/>
              </a:defRPr>
            </a:lvl8pPr>
            <a:lvl9pPr marL="1865925" algn="l" defTabSz="913526" rtl="0" fontAlgn="base">
              <a:spcBef>
                <a:spcPct val="0"/>
              </a:spcBef>
              <a:spcAft>
                <a:spcPct val="0"/>
              </a:spcAft>
              <a:defRPr sz="1939" b="1">
                <a:solidFill>
                  <a:schemeClr val="tx2"/>
                </a:solidFill>
                <a:latin typeface="Arial" charset="0"/>
              </a:defRPr>
            </a:lvl9pPr>
          </a:lstStyle>
          <a:p>
            <a:r>
              <a:rPr lang="en-US" sz="4400" kern="0" dirty="0"/>
              <a:t>Appendix - Links</a:t>
            </a:r>
          </a:p>
        </p:txBody>
      </p:sp>
      <p:sp>
        <p:nvSpPr>
          <p:cNvPr id="5" name="Rectangle 4">
            <a:extLst>
              <a:ext uri="{FF2B5EF4-FFF2-40B4-BE49-F238E27FC236}">
                <a16:creationId xmlns:a16="http://schemas.microsoft.com/office/drawing/2014/main" id="{5EA63240-F801-41CA-8C86-8D68FB6AD8C5}"/>
              </a:ext>
            </a:extLst>
          </p:cNvPr>
          <p:cNvSpPr/>
          <p:nvPr/>
        </p:nvSpPr>
        <p:spPr>
          <a:xfrm>
            <a:off x="1934817" y="1245704"/>
            <a:ext cx="9199348" cy="5686724"/>
          </a:xfrm>
          <a:prstGeom prst="rect">
            <a:avLst/>
          </a:prstGeom>
          <a:noFill/>
          <a:ln w="12700" cap="flat" cmpd="sng" algn="ctr">
            <a:noFill/>
            <a:prstDash val="solid"/>
            <a:miter lim="800000"/>
          </a:ln>
          <a:effectLst/>
        </p:spPr>
        <p:txBody>
          <a:bodyPr rtlCol="0" anchor="ctr"/>
          <a:lstStyle/>
          <a:p>
            <a:r>
              <a:rPr lang="en-US" sz="1800" dirty="0">
                <a:effectLst/>
                <a:ea typeface="Calibri" panose="020F0502020204030204" pitchFamily="34" charset="0"/>
                <a:hlinkClick r:id="rId3"/>
              </a:rPr>
              <a:t>EDS site</a:t>
            </a:r>
            <a:r>
              <a:rPr lang="en-US" sz="1800" dirty="0">
                <a:effectLst/>
                <a:ea typeface="Calibri" panose="020F0502020204030204" pitchFamily="34" charset="0"/>
              </a:rPr>
              <a:t> – shows more basic info about DGAP </a:t>
            </a:r>
            <a:br>
              <a:rPr lang="en-US" sz="1800" dirty="0">
                <a:effectLst/>
                <a:ea typeface="Calibri" panose="020F0502020204030204" pitchFamily="34" charset="0"/>
              </a:rPr>
            </a:br>
            <a:r>
              <a:rPr lang="en-US" sz="1800" dirty="0">
                <a:effectLst/>
                <a:ea typeface="Calibri" panose="020F0502020204030204" pitchFamily="34" charset="0"/>
              </a:rPr>
              <a:t>(</a:t>
            </a:r>
            <a:r>
              <a:rPr lang="en-US" dirty="0">
                <a:ea typeface="Calibri" panose="020F0502020204030204" pitchFamily="34" charset="0"/>
              </a:rPr>
              <a:t>Data Governance, Data Architecture and Date Privacy Office)</a:t>
            </a:r>
            <a:br>
              <a:rPr lang="en-US" dirty="0">
                <a:ea typeface="Calibri" panose="020F0502020204030204" pitchFamily="34" charset="0"/>
              </a:rPr>
            </a:br>
            <a:endParaRPr lang="en-US" kern="0" dirty="0">
              <a:solidFill>
                <a:schemeClr val="tx1">
                  <a:lumMod val="75000"/>
                  <a:lumOff val="25000"/>
                </a:schemeClr>
              </a:solidFill>
              <a:hlinkClick r:id="rId4"/>
            </a:endParaRPr>
          </a:p>
          <a:p>
            <a:pPr>
              <a:defRPr/>
            </a:pPr>
            <a:r>
              <a:rPr lang="en-US" sz="1800" dirty="0">
                <a:solidFill>
                  <a:srgbClr val="144260"/>
                </a:solidFill>
                <a:hlinkClick r:id="rId4"/>
              </a:rPr>
              <a:t>http://dig/</a:t>
            </a:r>
            <a:r>
              <a:rPr lang="en-US" sz="1800" dirty="0">
                <a:solidFill>
                  <a:srgbClr val="144260"/>
                </a:solidFill>
              </a:rPr>
              <a:t> - our technical solution to discover, explore and access data.</a:t>
            </a:r>
          </a:p>
          <a:p>
            <a:endParaRPr lang="en-US" dirty="0">
              <a:solidFill>
                <a:srgbClr val="144260"/>
              </a:solidFill>
            </a:endParaRPr>
          </a:p>
          <a:p>
            <a:r>
              <a:rPr lang="en-US" dirty="0" err="1">
                <a:hlinkClick r:id="rId5"/>
              </a:rPr>
              <a:t>DataGov</a:t>
            </a:r>
            <a:r>
              <a:rPr lang="en-US" dirty="0">
                <a:hlinkClick r:id="rId5"/>
              </a:rPr>
              <a:t>/</a:t>
            </a:r>
            <a:r>
              <a:rPr lang="en-US" dirty="0"/>
              <a:t> - Data Governance site</a:t>
            </a:r>
          </a:p>
          <a:p>
            <a:endParaRPr lang="en-US" dirty="0">
              <a:hlinkClick r:id="rId6"/>
            </a:endParaRPr>
          </a:p>
          <a:p>
            <a:r>
              <a:rPr lang="en-US" dirty="0" err="1">
                <a:hlinkClick r:id="rId7"/>
              </a:rPr>
              <a:t>DataEngagement</a:t>
            </a:r>
            <a:r>
              <a:rPr lang="en-US" dirty="0">
                <a:hlinkClick r:id="rId7"/>
              </a:rPr>
              <a:t>/</a:t>
            </a:r>
            <a:r>
              <a:rPr lang="en-US" dirty="0"/>
              <a:t> - data governance framework for data work in projects; provides templates for required artifacts</a:t>
            </a:r>
            <a:r>
              <a:rPr lang="en-US" sz="1600" dirty="0">
                <a:solidFill>
                  <a:srgbClr val="333333"/>
                </a:solidFill>
              </a:rPr>
              <a:t> </a:t>
            </a:r>
          </a:p>
          <a:p>
            <a:pPr marL="0" marR="0" lvl="0" indent="0" defTabSz="914400" eaLnBrk="1" fontAlgn="auto" latinLnBrk="0" hangingPunct="1">
              <a:lnSpc>
                <a:spcPct val="100000"/>
              </a:lnSpc>
              <a:spcBef>
                <a:spcPts val="0"/>
              </a:spcBef>
              <a:spcAft>
                <a:spcPts val="0"/>
              </a:spcAft>
              <a:buClrTx/>
              <a:buSzTx/>
              <a:buFontTx/>
              <a:buNone/>
              <a:tabLst/>
              <a:defRPr/>
            </a:pPr>
            <a:br>
              <a:rPr kumimoji="0" lang="en-US" sz="1800" b="0" i="0" u="none" strike="noStrike" kern="0" cap="none" spc="0" normalizeH="0" baseline="0" noProof="0" dirty="0">
                <a:ln>
                  <a:noFill/>
                </a:ln>
                <a:solidFill>
                  <a:schemeClr val="tx1">
                    <a:lumMod val="75000"/>
                    <a:lumOff val="25000"/>
                  </a:schemeClr>
                </a:solidFill>
                <a:effectLst/>
                <a:uLnTx/>
                <a:uFillTx/>
                <a:ea typeface="+mn-ea"/>
                <a:cs typeface="+mn-cs"/>
              </a:rPr>
            </a:br>
            <a:r>
              <a:rPr kumimoji="0" lang="en-US" sz="1800" b="0" i="0" u="none" strike="noStrike" kern="0" cap="none" spc="0" normalizeH="0" baseline="0" noProof="0" dirty="0">
                <a:ln>
                  <a:noFill/>
                </a:ln>
                <a:solidFill>
                  <a:schemeClr val="tx1">
                    <a:lumMod val="75000"/>
                    <a:lumOff val="25000"/>
                  </a:schemeClr>
                </a:solidFill>
                <a:effectLst/>
                <a:uLnTx/>
                <a:uFillTx/>
                <a:ea typeface="+mn-ea"/>
                <a:cs typeface="+mn-cs"/>
              </a:rPr>
              <a:t>Engage with us on </a:t>
            </a:r>
            <a:r>
              <a:rPr lang="en-US" dirty="0">
                <a:hlinkClick r:id="rId8"/>
              </a:rPr>
              <a:t>"Talk Data To Me</a:t>
            </a:r>
            <a:r>
              <a:rPr lang="en-US" dirty="0">
                <a:hlinkClick r:id="rId8"/>
              </a:rPr>
              <a:t>"</a:t>
            </a:r>
            <a:r>
              <a:rPr lang="en-US" dirty="0"/>
              <a:t> </a:t>
            </a:r>
            <a:r>
              <a:rPr lang="en-US" kern="0" dirty="0">
                <a:solidFill>
                  <a:schemeClr val="tx1">
                    <a:lumMod val="75000"/>
                    <a:lumOff val="25000"/>
                  </a:schemeClr>
                </a:solidFill>
              </a:rPr>
              <a:t>Engage community</a:t>
            </a:r>
          </a:p>
          <a:p>
            <a:pPr marL="0" marR="0" lvl="0" indent="0" defTabSz="914400" eaLnBrk="1" fontAlgn="auto" latinLnBrk="0" hangingPunct="1">
              <a:lnSpc>
                <a:spcPct val="100000"/>
              </a:lnSpc>
              <a:spcBef>
                <a:spcPts val="0"/>
              </a:spcBef>
              <a:spcAft>
                <a:spcPts val="0"/>
              </a:spcAft>
              <a:buClrTx/>
              <a:buSzTx/>
              <a:buFontTx/>
              <a:buNone/>
              <a:tabLst/>
              <a:defRPr/>
            </a:pPr>
            <a:endParaRPr lang="en-US" kern="0" dirty="0">
              <a:solidFill>
                <a:schemeClr val="tx1">
                  <a:lumMod val="75000"/>
                  <a:lumOff val="25000"/>
                </a:schemeClr>
              </a:solidFill>
            </a:endParaRPr>
          </a:p>
          <a:p>
            <a:pPr marL="0" marR="0" lvl="0" indent="0" defTabSz="914400" eaLnBrk="1" fontAlgn="auto" latinLnBrk="0" hangingPunct="1">
              <a:lnSpc>
                <a:spcPct val="100000"/>
              </a:lnSpc>
              <a:spcBef>
                <a:spcPts val="0"/>
              </a:spcBef>
              <a:spcAft>
                <a:spcPts val="0"/>
              </a:spcAft>
              <a:buClrTx/>
              <a:buSzTx/>
              <a:buFontTx/>
              <a:buNone/>
              <a:tabLst/>
              <a:defRPr/>
            </a:pPr>
            <a:r>
              <a:rPr lang="en-US" dirty="0" err="1">
                <a:hlinkClick r:id="rId9"/>
              </a:rPr>
              <a:t>FindTheData</a:t>
            </a:r>
            <a:r>
              <a:rPr lang="en-US" dirty="0">
                <a:hlinkClick r:id="rId9"/>
              </a:rPr>
              <a:t>/</a:t>
            </a:r>
            <a:r>
              <a:rPr lang="en-US" kern="0" dirty="0">
                <a:solidFill>
                  <a:schemeClr val="tx1">
                    <a:lumMod val="75000"/>
                    <a:lumOff val="25000"/>
                  </a:schemeClr>
                </a:solidFill>
              </a:rPr>
              <a:t> –</a:t>
            </a:r>
            <a:r>
              <a:rPr lang="en-US" sz="1600" kern="0" dirty="0">
                <a:solidFill>
                  <a:schemeClr val="tx1">
                    <a:lumMod val="75000"/>
                    <a:lumOff val="25000"/>
                  </a:schemeClr>
                </a:solidFill>
              </a:rPr>
              <a:t>List of security entitlements for various data stores throughout PRG</a:t>
            </a:r>
          </a:p>
          <a:p>
            <a:pPr marL="0" marR="0" lvl="0" indent="0" defTabSz="914400" eaLnBrk="1" fontAlgn="auto" latinLnBrk="0" hangingPunct="1">
              <a:lnSpc>
                <a:spcPct val="100000"/>
              </a:lnSpc>
              <a:spcBef>
                <a:spcPts val="0"/>
              </a:spcBef>
              <a:spcAft>
                <a:spcPts val="0"/>
              </a:spcAft>
              <a:buClrTx/>
              <a:buSzTx/>
              <a:buFontTx/>
              <a:buNone/>
              <a:tabLst/>
              <a:defRPr/>
            </a:pPr>
            <a:endParaRPr lang="en-US" sz="1600" kern="0" dirty="0">
              <a:solidFill>
                <a:schemeClr val="tx1">
                  <a:lumMod val="75000"/>
                  <a:lumOff val="25000"/>
                </a:schemeClr>
              </a:solidFill>
            </a:endParaRPr>
          </a:p>
          <a:p>
            <a:pPr marL="0" marR="0" lvl="0" indent="0" defTabSz="914400" eaLnBrk="1" fontAlgn="auto" latinLnBrk="0" hangingPunct="1">
              <a:lnSpc>
                <a:spcPct val="100000"/>
              </a:lnSpc>
              <a:spcBef>
                <a:spcPts val="0"/>
              </a:spcBef>
              <a:spcAft>
                <a:spcPts val="0"/>
              </a:spcAft>
              <a:buClrTx/>
              <a:buSzTx/>
              <a:buFontTx/>
              <a:buNone/>
              <a:tabLst/>
              <a:defRPr/>
            </a:pPr>
            <a:r>
              <a:rPr lang="en-US" dirty="0" err="1">
                <a:hlinkClick r:id="rId10"/>
              </a:rPr>
              <a:t>FreeTheData</a:t>
            </a:r>
            <a:r>
              <a:rPr lang="en-US" dirty="0">
                <a:hlinkClick r:id="rId10"/>
              </a:rPr>
              <a:t>/</a:t>
            </a:r>
            <a:r>
              <a:rPr lang="en-US" kern="0" dirty="0">
                <a:solidFill>
                  <a:schemeClr val="tx1">
                    <a:lumMod val="75000"/>
                    <a:lumOff val="25000"/>
                  </a:schemeClr>
                </a:solidFill>
              </a:rPr>
              <a:t> </a:t>
            </a:r>
            <a:r>
              <a:rPr lang="en-US" sz="1600" kern="0" dirty="0">
                <a:solidFill>
                  <a:schemeClr val="tx1">
                    <a:lumMod val="75000"/>
                    <a:lumOff val="25000"/>
                  </a:schemeClr>
                </a:solidFill>
              </a:rPr>
              <a:t>– </a:t>
            </a:r>
            <a:r>
              <a:rPr lang="en-US" sz="1600" b="0" i="0" dirty="0">
                <a:solidFill>
                  <a:srgbClr val="333333"/>
                </a:solidFill>
                <a:effectLst/>
              </a:rPr>
              <a:t>The Free the Data program helps our analyst community to seamlessly gain access to qualifying data.  Databases and applications that are frequently accessed and do not contain sensitive information are included in the program.  Job families that commonly have a need to analyze this data are configured so that an additional access request is not needed.  </a:t>
            </a:r>
          </a:p>
          <a:p>
            <a:pPr marL="0" marR="0" lvl="0" indent="0" defTabSz="914400" eaLnBrk="1" fontAlgn="auto" latinLnBrk="0" hangingPunct="1">
              <a:lnSpc>
                <a:spcPct val="100000"/>
              </a:lnSpc>
              <a:spcBef>
                <a:spcPts val="0"/>
              </a:spcBef>
              <a:spcAft>
                <a:spcPts val="0"/>
              </a:spcAft>
              <a:buClrTx/>
              <a:buSzTx/>
              <a:buFontTx/>
              <a:buNone/>
              <a:tabLst/>
              <a:defRPr/>
            </a:pPr>
            <a:endParaRPr lang="en-US" sz="1600" kern="0" dirty="0">
              <a:solidFill>
                <a:srgbClr val="333333"/>
              </a:solidFill>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tx1">
                  <a:lumMod val="75000"/>
                  <a:lumOff val="25000"/>
                </a:schemeClr>
              </a:solidFill>
              <a:effectLst/>
              <a:uLnTx/>
              <a:uFillTx/>
              <a:ea typeface="+mn-ea"/>
              <a:cs typeface="+mn-cs"/>
            </a:endParaRPr>
          </a:p>
        </p:txBody>
      </p:sp>
    </p:spTree>
    <p:extLst>
      <p:ext uri="{BB962C8B-B14F-4D97-AF65-F5344CB8AC3E}">
        <p14:creationId xmlns:p14="http://schemas.microsoft.com/office/powerpoint/2010/main" val="4992187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124C0B-19B9-E909-9444-CDAC7EEC4B08}"/>
              </a:ext>
            </a:extLst>
          </p:cNvPr>
          <p:cNvSpPr>
            <a:spLocks noGrp="1"/>
          </p:cNvSpPr>
          <p:nvPr>
            <p:ph type="title"/>
          </p:nvPr>
        </p:nvSpPr>
        <p:spPr/>
        <p:txBody>
          <a:bodyPr/>
          <a:lstStyle/>
          <a:p>
            <a:r>
              <a:rPr lang="en-US" b="1" dirty="0"/>
              <a:t>Enabling DG Efficiencies – Business Glossary</a:t>
            </a:r>
          </a:p>
        </p:txBody>
      </p:sp>
      <p:sp>
        <p:nvSpPr>
          <p:cNvPr id="3" name="Content Placeholder 2">
            <a:extLst>
              <a:ext uri="{FF2B5EF4-FFF2-40B4-BE49-F238E27FC236}">
                <a16:creationId xmlns:a16="http://schemas.microsoft.com/office/drawing/2014/main" id="{011DDFC6-67C2-F006-5112-04E381C0D719}"/>
              </a:ext>
            </a:extLst>
          </p:cNvPr>
          <p:cNvSpPr>
            <a:spLocks noGrp="1"/>
          </p:cNvSpPr>
          <p:nvPr>
            <p:ph sz="half" idx="1"/>
          </p:nvPr>
        </p:nvSpPr>
        <p:spPr>
          <a:xfrm>
            <a:off x="554182" y="1034673"/>
            <a:ext cx="5965952" cy="4788653"/>
          </a:xfrm>
        </p:spPr>
        <p:txBody>
          <a:bodyPr vert="horz" lIns="91440" tIns="45720" rIns="91440" bIns="45720" rtlCol="0" anchor="ctr">
            <a:normAutofit fontScale="92500" lnSpcReduction="20000"/>
          </a:bodyPr>
          <a:lstStyle/>
          <a:p>
            <a:pPr marL="0" indent="0">
              <a:lnSpc>
                <a:spcPct val="100000"/>
              </a:lnSpc>
              <a:buNone/>
            </a:pPr>
            <a:r>
              <a:rPr lang="en-US" b="1" dirty="0"/>
              <a:t>How does this help me?</a:t>
            </a:r>
          </a:p>
          <a:p>
            <a:pPr>
              <a:lnSpc>
                <a:spcPct val="110000"/>
              </a:lnSpc>
            </a:pPr>
            <a:r>
              <a:rPr lang="en-US" sz="2400" dirty="0"/>
              <a:t>Re-usable, standardized terminology, enabling more consistent, accurate, and accessible/searchable data – Scalable!</a:t>
            </a:r>
          </a:p>
          <a:p>
            <a:pPr>
              <a:lnSpc>
                <a:spcPct val="110000"/>
              </a:lnSpc>
            </a:pPr>
            <a:r>
              <a:rPr lang="en-US" sz="2400" dirty="0"/>
              <a:t>Helps understand related terms – brings focus up a level (not as granular)</a:t>
            </a:r>
          </a:p>
          <a:p>
            <a:pPr>
              <a:lnSpc>
                <a:spcPct val="110000"/>
              </a:lnSpc>
            </a:pPr>
            <a:r>
              <a:rPr lang="en-US" sz="2400" dirty="0"/>
              <a:t>Reduces time to document repetitive data</a:t>
            </a:r>
          </a:p>
          <a:p>
            <a:pPr>
              <a:lnSpc>
                <a:spcPct val="110000"/>
              </a:lnSpc>
            </a:pPr>
            <a:r>
              <a:rPr lang="en-US" sz="2400" dirty="0"/>
              <a:t>Improves security conformance and compliance, reducing risk </a:t>
            </a:r>
          </a:p>
          <a:p>
            <a:pPr>
              <a:lnSpc>
                <a:spcPct val="110000"/>
              </a:lnSpc>
            </a:pPr>
            <a:r>
              <a:rPr lang="en-US" sz="2400" dirty="0"/>
              <a:t>Accelerates analytics and lays the foundation for AI/ML </a:t>
            </a:r>
          </a:p>
          <a:p>
            <a:pPr>
              <a:lnSpc>
                <a:spcPct val="110000"/>
              </a:lnSpc>
            </a:pPr>
            <a:r>
              <a:rPr lang="en-US" sz="2400" dirty="0"/>
              <a:t>Eases mapping activities for acquisitions</a:t>
            </a:r>
          </a:p>
          <a:p>
            <a:pPr lvl="1"/>
            <a:endParaRPr lang="en-US" sz="1800" dirty="0"/>
          </a:p>
        </p:txBody>
      </p:sp>
      <p:sp>
        <p:nvSpPr>
          <p:cNvPr id="24" name="Right Brace 23">
            <a:extLst>
              <a:ext uri="{FF2B5EF4-FFF2-40B4-BE49-F238E27FC236}">
                <a16:creationId xmlns:a16="http://schemas.microsoft.com/office/drawing/2014/main" id="{F741D574-0A9F-36F5-29CA-6CA78531B8B3}"/>
              </a:ext>
            </a:extLst>
          </p:cNvPr>
          <p:cNvSpPr/>
          <p:nvPr/>
        </p:nvSpPr>
        <p:spPr>
          <a:xfrm rot="16200000">
            <a:off x="9003246" y="-784180"/>
            <a:ext cx="358394" cy="4418955"/>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TextBox 24">
            <a:extLst>
              <a:ext uri="{FF2B5EF4-FFF2-40B4-BE49-F238E27FC236}">
                <a16:creationId xmlns:a16="http://schemas.microsoft.com/office/drawing/2014/main" id="{77DCCD53-635C-3B61-1C01-3A0C21CCC29E}"/>
              </a:ext>
            </a:extLst>
          </p:cNvPr>
          <p:cNvSpPr txBox="1"/>
          <p:nvPr/>
        </p:nvSpPr>
        <p:spPr>
          <a:xfrm>
            <a:off x="8691751" y="753658"/>
            <a:ext cx="1325880"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rPr>
              <a:t>Name</a:t>
            </a:r>
          </a:p>
        </p:txBody>
      </p:sp>
      <p:sp>
        <p:nvSpPr>
          <p:cNvPr id="28" name="TextBox 27">
            <a:extLst>
              <a:ext uri="{FF2B5EF4-FFF2-40B4-BE49-F238E27FC236}">
                <a16:creationId xmlns:a16="http://schemas.microsoft.com/office/drawing/2014/main" id="{A12BE554-1532-10FC-3EE9-36C1F2A32929}"/>
              </a:ext>
            </a:extLst>
          </p:cNvPr>
          <p:cNvSpPr txBox="1"/>
          <p:nvPr/>
        </p:nvSpPr>
        <p:spPr>
          <a:xfrm>
            <a:off x="6797285" y="2871968"/>
            <a:ext cx="1577676" cy="307777"/>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96 Sans" panose="020C0504020203020204" pitchFamily="34" charset="0"/>
                <a:ea typeface="+mn-ea"/>
                <a:cs typeface="+mn-cs"/>
              </a:rPr>
              <a:t>Employee Name</a:t>
            </a:r>
          </a:p>
        </p:txBody>
      </p:sp>
      <p:sp>
        <p:nvSpPr>
          <p:cNvPr id="29" name="TextBox 28">
            <a:extLst>
              <a:ext uri="{FF2B5EF4-FFF2-40B4-BE49-F238E27FC236}">
                <a16:creationId xmlns:a16="http://schemas.microsoft.com/office/drawing/2014/main" id="{200078F4-3CC4-8134-0542-03B76E0A394D}"/>
              </a:ext>
            </a:extLst>
          </p:cNvPr>
          <p:cNvSpPr txBox="1"/>
          <p:nvPr/>
        </p:nvSpPr>
        <p:spPr>
          <a:xfrm>
            <a:off x="8553905" y="2852924"/>
            <a:ext cx="1257075" cy="307777"/>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96 Sans" panose="020C0504020203020204" pitchFamily="34" charset="0"/>
                <a:ea typeface="+mn-ea"/>
                <a:cs typeface="+mn-cs"/>
              </a:rPr>
              <a:t>Agent Name</a:t>
            </a:r>
          </a:p>
        </p:txBody>
      </p:sp>
      <p:sp>
        <p:nvSpPr>
          <p:cNvPr id="30" name="TextBox 29">
            <a:extLst>
              <a:ext uri="{FF2B5EF4-FFF2-40B4-BE49-F238E27FC236}">
                <a16:creationId xmlns:a16="http://schemas.microsoft.com/office/drawing/2014/main" id="{5E866693-A38E-60E7-A2EB-41A5406AB740}"/>
              </a:ext>
            </a:extLst>
          </p:cNvPr>
          <p:cNvSpPr txBox="1"/>
          <p:nvPr/>
        </p:nvSpPr>
        <p:spPr>
          <a:xfrm>
            <a:off x="9813338" y="2871968"/>
            <a:ext cx="1835759" cy="523220"/>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96 Sans" panose="020C0504020203020204" pitchFamily="34" charset="0"/>
                <a:ea typeface="+mn-ea"/>
                <a:cs typeface="+mn-cs"/>
              </a:rPr>
              <a:t>Policy Holder Name</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96 Sans" panose="020C0504020203020204" pitchFamily="34" charset="0"/>
                <a:ea typeface="+mn-ea"/>
                <a:cs typeface="+mn-cs"/>
              </a:rPr>
              <a:t>Claimant Name</a:t>
            </a:r>
          </a:p>
        </p:txBody>
      </p:sp>
      <p:sp>
        <p:nvSpPr>
          <p:cNvPr id="31" name="Right Brace 30">
            <a:extLst>
              <a:ext uri="{FF2B5EF4-FFF2-40B4-BE49-F238E27FC236}">
                <a16:creationId xmlns:a16="http://schemas.microsoft.com/office/drawing/2014/main" id="{555FF25C-6B7B-F752-98D5-804E186F8EAE}"/>
              </a:ext>
            </a:extLst>
          </p:cNvPr>
          <p:cNvSpPr/>
          <p:nvPr/>
        </p:nvSpPr>
        <p:spPr>
          <a:xfrm rot="5400000">
            <a:off x="9018235" y="1317812"/>
            <a:ext cx="358394" cy="4418955"/>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48" name="TextBox 2047">
            <a:extLst>
              <a:ext uri="{FF2B5EF4-FFF2-40B4-BE49-F238E27FC236}">
                <a16:creationId xmlns:a16="http://schemas.microsoft.com/office/drawing/2014/main" id="{2B7179DF-66F1-D98E-D3F0-8F7E78FD0EEF}"/>
              </a:ext>
            </a:extLst>
          </p:cNvPr>
          <p:cNvSpPr txBox="1"/>
          <p:nvPr/>
        </p:nvSpPr>
        <p:spPr>
          <a:xfrm>
            <a:off x="7491234" y="3695684"/>
            <a:ext cx="3394736" cy="46166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rPr>
              <a:t>Related Terms to Name</a:t>
            </a:r>
          </a:p>
        </p:txBody>
      </p:sp>
      <p:pic>
        <p:nvPicPr>
          <p:cNvPr id="1026" name="Picture 2" descr="Headshot Stock Illustrations – 10,675 Headshot Stock ...">
            <a:extLst>
              <a:ext uri="{FF2B5EF4-FFF2-40B4-BE49-F238E27FC236}">
                <a16:creationId xmlns:a16="http://schemas.microsoft.com/office/drawing/2014/main" id="{B2179787-8508-63C6-69B8-843B0366E9A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74463" t="34577" r="2921" b="35769"/>
          <a:stretch/>
        </p:blipFill>
        <p:spPr bwMode="auto">
          <a:xfrm>
            <a:off x="10133188" y="1744882"/>
            <a:ext cx="1163647" cy="1165293"/>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Headshot Stock Illustrations – 10,675 Headshot Stock ...">
            <a:extLst>
              <a:ext uri="{FF2B5EF4-FFF2-40B4-BE49-F238E27FC236}">
                <a16:creationId xmlns:a16="http://schemas.microsoft.com/office/drawing/2014/main" id="{8E824C6D-0D82-B15D-19D1-1697CB322F9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50000" t="4333" r="26607" b="67951"/>
          <a:stretch/>
        </p:blipFill>
        <p:spPr bwMode="auto">
          <a:xfrm>
            <a:off x="8553076" y="1787608"/>
            <a:ext cx="1226314" cy="1109622"/>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eadshot Stock Illustrations – 10,675 Headshot Stock ...">
            <a:extLst>
              <a:ext uri="{FF2B5EF4-FFF2-40B4-BE49-F238E27FC236}">
                <a16:creationId xmlns:a16="http://schemas.microsoft.com/office/drawing/2014/main" id="{6F45529B-2B8D-0E6D-D52A-C3F383E8F9EA}"/>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7639" t="66894" r="51705" b="7407"/>
          <a:stretch/>
        </p:blipFill>
        <p:spPr bwMode="auto">
          <a:xfrm>
            <a:off x="6972964" y="1767720"/>
            <a:ext cx="1226314" cy="11652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80317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5"/>
                                        </p:tgtEl>
                                        <p:attrNameLst>
                                          <p:attrName>style.visibility</p:attrName>
                                        </p:attrNameLst>
                                      </p:cBhvr>
                                      <p:to>
                                        <p:strVal val="visible"/>
                                      </p:to>
                                    </p:set>
                                  </p:childTnLst>
                                </p:cTn>
                              </p:par>
                              <p:par>
                                <p:cTn id="11" presetID="2" presetClass="entr" presetSubtype="4" fill="hold" grpId="0" nodeType="withEffect">
                                  <p:stCondLst>
                                    <p:cond delay="0"/>
                                  </p:stCondLst>
                                  <p:childTnLst>
                                    <p:set>
                                      <p:cBhvr>
                                        <p:cTn id="12" dur="1" fill="hold">
                                          <p:stCondLst>
                                            <p:cond delay="0"/>
                                          </p:stCondLst>
                                        </p:cTn>
                                        <p:tgtEl>
                                          <p:spTgt spid="28"/>
                                        </p:tgtEl>
                                        <p:attrNameLst>
                                          <p:attrName>style.visibility</p:attrName>
                                        </p:attrNameLst>
                                      </p:cBhvr>
                                      <p:to>
                                        <p:strVal val="visible"/>
                                      </p:to>
                                    </p:set>
                                    <p:anim calcmode="lin" valueType="num">
                                      <p:cBhvr additive="base">
                                        <p:cTn id="13" dur="500" fill="hold"/>
                                        <p:tgtEl>
                                          <p:spTgt spid="28"/>
                                        </p:tgtEl>
                                        <p:attrNameLst>
                                          <p:attrName>ppt_x</p:attrName>
                                        </p:attrNameLst>
                                      </p:cBhvr>
                                      <p:tavLst>
                                        <p:tav tm="0">
                                          <p:val>
                                            <p:strVal val="#ppt_x"/>
                                          </p:val>
                                        </p:tav>
                                        <p:tav tm="100000">
                                          <p:val>
                                            <p:strVal val="#ppt_x"/>
                                          </p:val>
                                        </p:tav>
                                      </p:tavLst>
                                    </p:anim>
                                    <p:anim calcmode="lin" valueType="num">
                                      <p:cBhvr additive="base">
                                        <p:cTn id="14" dur="500" fill="hold"/>
                                        <p:tgtEl>
                                          <p:spTgt spid="28"/>
                                        </p:tgtEl>
                                        <p:attrNameLst>
                                          <p:attrName>ppt_y</p:attrName>
                                        </p:attrNameLst>
                                      </p:cBhvr>
                                      <p:tavLst>
                                        <p:tav tm="0">
                                          <p:val>
                                            <p:strVal val="1+#ppt_h/2"/>
                                          </p:val>
                                        </p:tav>
                                        <p:tav tm="100000">
                                          <p:val>
                                            <p:strVal val="#ppt_y"/>
                                          </p:val>
                                        </p:tav>
                                      </p:tavLst>
                                    </p:anim>
                                  </p:childTnLst>
                                </p:cTn>
                              </p:par>
                              <p:par>
                                <p:cTn id="15" presetID="2" presetClass="entr" presetSubtype="4" fill="hold" grpId="0" nodeType="withEffect">
                                  <p:stCondLst>
                                    <p:cond delay="0"/>
                                  </p:stCondLst>
                                  <p:childTnLst>
                                    <p:set>
                                      <p:cBhvr>
                                        <p:cTn id="16" dur="1" fill="hold">
                                          <p:stCondLst>
                                            <p:cond delay="0"/>
                                          </p:stCondLst>
                                        </p:cTn>
                                        <p:tgtEl>
                                          <p:spTgt spid="29"/>
                                        </p:tgtEl>
                                        <p:attrNameLst>
                                          <p:attrName>style.visibility</p:attrName>
                                        </p:attrNameLst>
                                      </p:cBhvr>
                                      <p:to>
                                        <p:strVal val="visible"/>
                                      </p:to>
                                    </p:set>
                                    <p:anim calcmode="lin" valueType="num">
                                      <p:cBhvr additive="base">
                                        <p:cTn id="17" dur="500" fill="hold"/>
                                        <p:tgtEl>
                                          <p:spTgt spid="29"/>
                                        </p:tgtEl>
                                        <p:attrNameLst>
                                          <p:attrName>ppt_x</p:attrName>
                                        </p:attrNameLst>
                                      </p:cBhvr>
                                      <p:tavLst>
                                        <p:tav tm="0">
                                          <p:val>
                                            <p:strVal val="#ppt_x"/>
                                          </p:val>
                                        </p:tav>
                                        <p:tav tm="100000">
                                          <p:val>
                                            <p:strVal val="#ppt_x"/>
                                          </p:val>
                                        </p:tav>
                                      </p:tavLst>
                                    </p:anim>
                                    <p:anim calcmode="lin" valueType="num">
                                      <p:cBhvr additive="base">
                                        <p:cTn id="18" dur="500" fill="hold"/>
                                        <p:tgtEl>
                                          <p:spTgt spid="29"/>
                                        </p:tgtEl>
                                        <p:attrNameLst>
                                          <p:attrName>ppt_y</p:attrName>
                                        </p:attrNameLst>
                                      </p:cBhvr>
                                      <p:tavLst>
                                        <p:tav tm="0">
                                          <p:val>
                                            <p:strVal val="1+#ppt_h/2"/>
                                          </p:val>
                                        </p:tav>
                                        <p:tav tm="100000">
                                          <p:val>
                                            <p:strVal val="#ppt_y"/>
                                          </p:val>
                                        </p:tav>
                                      </p:tavLst>
                                    </p:anim>
                                  </p:childTnLst>
                                </p:cTn>
                              </p:par>
                              <p:par>
                                <p:cTn id="19" presetID="2" presetClass="entr" presetSubtype="4" fill="hold" grpId="0" nodeType="withEffect">
                                  <p:stCondLst>
                                    <p:cond delay="0"/>
                                  </p:stCondLst>
                                  <p:childTnLst>
                                    <p:set>
                                      <p:cBhvr>
                                        <p:cTn id="20" dur="1" fill="hold">
                                          <p:stCondLst>
                                            <p:cond delay="0"/>
                                          </p:stCondLst>
                                        </p:cTn>
                                        <p:tgtEl>
                                          <p:spTgt spid="30"/>
                                        </p:tgtEl>
                                        <p:attrNameLst>
                                          <p:attrName>style.visibility</p:attrName>
                                        </p:attrNameLst>
                                      </p:cBhvr>
                                      <p:to>
                                        <p:strVal val="visible"/>
                                      </p:to>
                                    </p:set>
                                    <p:anim calcmode="lin" valueType="num">
                                      <p:cBhvr additive="base">
                                        <p:cTn id="21" dur="500" fill="hold"/>
                                        <p:tgtEl>
                                          <p:spTgt spid="30"/>
                                        </p:tgtEl>
                                        <p:attrNameLst>
                                          <p:attrName>ppt_x</p:attrName>
                                        </p:attrNameLst>
                                      </p:cBhvr>
                                      <p:tavLst>
                                        <p:tav tm="0">
                                          <p:val>
                                            <p:strVal val="#ppt_x"/>
                                          </p:val>
                                        </p:tav>
                                        <p:tav tm="100000">
                                          <p:val>
                                            <p:strVal val="#ppt_x"/>
                                          </p:val>
                                        </p:tav>
                                      </p:tavLst>
                                    </p:anim>
                                    <p:anim calcmode="lin" valueType="num">
                                      <p:cBhvr additive="base">
                                        <p:cTn id="22" dur="500" fill="hold"/>
                                        <p:tgtEl>
                                          <p:spTgt spid="30"/>
                                        </p:tgtEl>
                                        <p:attrNameLst>
                                          <p:attrName>ppt_y</p:attrName>
                                        </p:attrNameLst>
                                      </p:cBhvr>
                                      <p:tavLst>
                                        <p:tav tm="0">
                                          <p:val>
                                            <p:strVal val="1+#ppt_h/2"/>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2" end="2"/>
                                            </p:txEl>
                                          </p:spTgt>
                                        </p:tgtEl>
                                        <p:attrNameLst>
                                          <p:attrName>style.visibility</p:attrName>
                                        </p:attrNameLst>
                                      </p:cBhvr>
                                      <p:to>
                                        <p:strVal val="visible"/>
                                      </p:to>
                                    </p:set>
                                  </p:childTnLst>
                                </p:cTn>
                              </p:par>
                              <p:par>
                                <p:cTn id="27" presetID="2" presetClass="entr" presetSubtype="4" fill="hold" grpId="0" nodeType="withEffect">
                                  <p:stCondLst>
                                    <p:cond delay="0"/>
                                  </p:stCondLst>
                                  <p:childTnLst>
                                    <p:set>
                                      <p:cBhvr>
                                        <p:cTn id="28" dur="1" fill="hold">
                                          <p:stCondLst>
                                            <p:cond delay="0"/>
                                          </p:stCondLst>
                                        </p:cTn>
                                        <p:tgtEl>
                                          <p:spTgt spid="31"/>
                                        </p:tgtEl>
                                        <p:attrNameLst>
                                          <p:attrName>style.visibility</p:attrName>
                                        </p:attrNameLst>
                                      </p:cBhvr>
                                      <p:to>
                                        <p:strVal val="visible"/>
                                      </p:to>
                                    </p:set>
                                    <p:anim calcmode="lin" valueType="num">
                                      <p:cBhvr additive="base">
                                        <p:cTn id="29" dur="500" fill="hold"/>
                                        <p:tgtEl>
                                          <p:spTgt spid="31"/>
                                        </p:tgtEl>
                                        <p:attrNameLst>
                                          <p:attrName>ppt_x</p:attrName>
                                        </p:attrNameLst>
                                      </p:cBhvr>
                                      <p:tavLst>
                                        <p:tav tm="0">
                                          <p:val>
                                            <p:strVal val="#ppt_x"/>
                                          </p:val>
                                        </p:tav>
                                        <p:tav tm="100000">
                                          <p:val>
                                            <p:strVal val="#ppt_x"/>
                                          </p:val>
                                        </p:tav>
                                      </p:tavLst>
                                    </p:anim>
                                    <p:anim calcmode="lin" valueType="num">
                                      <p:cBhvr additive="base">
                                        <p:cTn id="30" dur="500" fill="hold"/>
                                        <p:tgtEl>
                                          <p:spTgt spid="31"/>
                                        </p:tgtEl>
                                        <p:attrNameLst>
                                          <p:attrName>ppt_y</p:attrName>
                                        </p:attrNameLst>
                                      </p:cBhvr>
                                      <p:tavLst>
                                        <p:tav tm="0">
                                          <p:val>
                                            <p:strVal val="1+#ppt_h/2"/>
                                          </p:val>
                                        </p:tav>
                                        <p:tav tm="100000">
                                          <p:val>
                                            <p:strVal val="#ppt_y"/>
                                          </p:val>
                                        </p:tav>
                                      </p:tavLst>
                                    </p:anim>
                                  </p:childTnLst>
                                </p:cTn>
                              </p:par>
                              <p:par>
                                <p:cTn id="31" presetID="2" presetClass="entr" presetSubtype="4" fill="hold" grpId="0" nodeType="withEffect">
                                  <p:stCondLst>
                                    <p:cond delay="0"/>
                                  </p:stCondLst>
                                  <p:childTnLst>
                                    <p:set>
                                      <p:cBhvr>
                                        <p:cTn id="32" dur="1" fill="hold">
                                          <p:stCondLst>
                                            <p:cond delay="0"/>
                                          </p:stCondLst>
                                        </p:cTn>
                                        <p:tgtEl>
                                          <p:spTgt spid="2048"/>
                                        </p:tgtEl>
                                        <p:attrNameLst>
                                          <p:attrName>style.visibility</p:attrName>
                                        </p:attrNameLst>
                                      </p:cBhvr>
                                      <p:to>
                                        <p:strVal val="visible"/>
                                      </p:to>
                                    </p:set>
                                    <p:anim calcmode="lin" valueType="num">
                                      <p:cBhvr additive="base">
                                        <p:cTn id="33" dur="500" fill="hold"/>
                                        <p:tgtEl>
                                          <p:spTgt spid="2048"/>
                                        </p:tgtEl>
                                        <p:attrNameLst>
                                          <p:attrName>ppt_x</p:attrName>
                                        </p:attrNameLst>
                                      </p:cBhvr>
                                      <p:tavLst>
                                        <p:tav tm="0">
                                          <p:val>
                                            <p:strVal val="#ppt_x"/>
                                          </p:val>
                                        </p:tav>
                                        <p:tav tm="100000">
                                          <p:val>
                                            <p:strVal val="#ppt_x"/>
                                          </p:val>
                                        </p:tav>
                                      </p:tavLst>
                                    </p:anim>
                                    <p:anim calcmode="lin" valueType="num">
                                      <p:cBhvr additive="base">
                                        <p:cTn id="34" dur="500" fill="hold"/>
                                        <p:tgtEl>
                                          <p:spTgt spid="2048"/>
                                        </p:tgtEl>
                                        <p:attrNameLst>
                                          <p:attrName>ppt_y</p:attrName>
                                        </p:attrNameLst>
                                      </p:cBhvr>
                                      <p:tavLst>
                                        <p:tav tm="0">
                                          <p:val>
                                            <p:strVal val="1+#ppt_h/2"/>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3">
                                            <p:txEl>
                                              <p:pRg st="5" end="5"/>
                                            </p:txEl>
                                          </p:spTgt>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P spid="24" grpId="0" animBg="1"/>
      <p:bldP spid="25" grpId="0"/>
      <p:bldP spid="28" grpId="0"/>
      <p:bldP spid="29" grpId="0"/>
      <p:bldP spid="30" grpId="0"/>
      <p:bldP spid="31" grpId="0" animBg="1"/>
      <p:bldP spid="2048"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D3683B8-3F0D-F381-4626-7503A1CDE2FE}"/>
              </a:ext>
            </a:extLst>
          </p:cNvPr>
          <p:cNvSpPr>
            <a:spLocks noGrp="1"/>
          </p:cNvSpPr>
          <p:nvPr>
            <p:ph type="title"/>
          </p:nvPr>
        </p:nvSpPr>
        <p:spPr/>
        <p:txBody>
          <a:bodyPr/>
          <a:lstStyle/>
          <a:p>
            <a:r>
              <a:rPr lang="en-US" b="1" dirty="0"/>
              <a:t>Business Glossary</a:t>
            </a:r>
          </a:p>
        </p:txBody>
      </p:sp>
      <p:pic>
        <p:nvPicPr>
          <p:cNvPr id="7" name="Picture 6">
            <a:extLst>
              <a:ext uri="{FF2B5EF4-FFF2-40B4-BE49-F238E27FC236}">
                <a16:creationId xmlns:a16="http://schemas.microsoft.com/office/drawing/2014/main" id="{78EE6595-7A8D-35BD-41D3-2B0E33C238A9}"/>
              </a:ext>
            </a:extLst>
          </p:cNvPr>
          <p:cNvPicPr>
            <a:picLocks noChangeAspect="1"/>
          </p:cNvPicPr>
          <p:nvPr/>
        </p:nvPicPr>
        <p:blipFill>
          <a:blip r:embed="rId3"/>
          <a:stretch>
            <a:fillRect/>
          </a:stretch>
        </p:blipFill>
        <p:spPr>
          <a:xfrm>
            <a:off x="1196119" y="716921"/>
            <a:ext cx="9466715" cy="5703734"/>
          </a:xfrm>
          <a:prstGeom prst="rect">
            <a:avLst/>
          </a:prstGeom>
        </p:spPr>
      </p:pic>
      <p:pic>
        <p:nvPicPr>
          <p:cNvPr id="9" name="Picture 8">
            <a:extLst>
              <a:ext uri="{FF2B5EF4-FFF2-40B4-BE49-F238E27FC236}">
                <a16:creationId xmlns:a16="http://schemas.microsoft.com/office/drawing/2014/main" id="{0D6612A2-ABAA-846E-9F32-24C1E82641D1}"/>
              </a:ext>
            </a:extLst>
          </p:cNvPr>
          <p:cNvPicPr>
            <a:picLocks noChangeAspect="1"/>
          </p:cNvPicPr>
          <p:nvPr/>
        </p:nvPicPr>
        <p:blipFill>
          <a:blip r:embed="rId4"/>
          <a:stretch>
            <a:fillRect/>
          </a:stretch>
        </p:blipFill>
        <p:spPr>
          <a:xfrm>
            <a:off x="1260397" y="896213"/>
            <a:ext cx="9889929" cy="4740052"/>
          </a:xfrm>
          <a:prstGeom prst="rect">
            <a:avLst/>
          </a:prstGeom>
        </p:spPr>
      </p:pic>
      <p:pic>
        <p:nvPicPr>
          <p:cNvPr id="11" name="Picture 10">
            <a:extLst>
              <a:ext uri="{FF2B5EF4-FFF2-40B4-BE49-F238E27FC236}">
                <a16:creationId xmlns:a16="http://schemas.microsoft.com/office/drawing/2014/main" id="{7F19F4D3-4C37-25FD-00E5-9A67178E1955}"/>
              </a:ext>
            </a:extLst>
          </p:cNvPr>
          <p:cNvPicPr>
            <a:picLocks noChangeAspect="1"/>
          </p:cNvPicPr>
          <p:nvPr/>
        </p:nvPicPr>
        <p:blipFill>
          <a:blip r:embed="rId5"/>
          <a:stretch>
            <a:fillRect/>
          </a:stretch>
        </p:blipFill>
        <p:spPr>
          <a:xfrm>
            <a:off x="154983" y="896213"/>
            <a:ext cx="9082007" cy="3029712"/>
          </a:xfrm>
          <a:prstGeom prst="rect">
            <a:avLst/>
          </a:prstGeom>
        </p:spPr>
      </p:pic>
    </p:spTree>
    <p:extLst>
      <p:ext uri="{BB962C8B-B14F-4D97-AF65-F5344CB8AC3E}">
        <p14:creationId xmlns:p14="http://schemas.microsoft.com/office/powerpoint/2010/main" val="6599541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11"/>
                                        </p:tgtEl>
                                        <p:attrNameLst>
                                          <p:attrName>style.visibility</p:attrName>
                                        </p:attrNameLst>
                                      </p:cBhvr>
                                      <p:to>
                                        <p:strVal val="hidden"/>
                                      </p:to>
                                    </p:set>
                                  </p:childTnLst>
                                </p:cTn>
                              </p:par>
                              <p:par>
                                <p:cTn id="7" presetID="1" presetClass="entr" presetSubtype="0" fill="hold"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xit" presetSubtype="0" fill="hold" nodeType="clickEffect">
                                  <p:stCondLst>
                                    <p:cond delay="0"/>
                                  </p:stCondLst>
                                  <p:childTnLst>
                                    <p:set>
                                      <p:cBhvr>
                                        <p:cTn id="12" dur="1" fill="hold">
                                          <p:stCondLst>
                                            <p:cond delay="0"/>
                                          </p:stCondLst>
                                        </p:cTn>
                                        <p:tgtEl>
                                          <p:spTgt spid="9"/>
                                        </p:tgtEl>
                                        <p:attrNameLst>
                                          <p:attrName>style.visibility</p:attrName>
                                        </p:attrNameLst>
                                      </p:cBhvr>
                                      <p:to>
                                        <p:strVal val="hidden"/>
                                      </p:to>
                                    </p:set>
                                  </p:childTnLst>
                                </p:cTn>
                              </p:par>
                              <p:par>
                                <p:cTn id="13" presetID="1" presetClass="entr" presetSubtype="0" fill="hold" nodeType="with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AE73B63-8BE1-05E1-E1BB-51A8060E8A08}"/>
              </a:ext>
            </a:extLst>
          </p:cNvPr>
          <p:cNvSpPr>
            <a:spLocks noGrp="1"/>
          </p:cNvSpPr>
          <p:nvPr>
            <p:ph type="title"/>
          </p:nvPr>
        </p:nvSpPr>
        <p:spPr/>
        <p:txBody>
          <a:bodyPr/>
          <a:lstStyle/>
          <a:p>
            <a:endParaRPr lang="en-US"/>
          </a:p>
        </p:txBody>
      </p:sp>
      <p:sp>
        <p:nvSpPr>
          <p:cNvPr id="6" name="Content Placeholder 5">
            <a:extLst>
              <a:ext uri="{FF2B5EF4-FFF2-40B4-BE49-F238E27FC236}">
                <a16:creationId xmlns:a16="http://schemas.microsoft.com/office/drawing/2014/main" id="{EA1C1E25-47C8-3B7F-18B6-7FF255E9454F}"/>
              </a:ext>
            </a:extLst>
          </p:cNvPr>
          <p:cNvSpPr>
            <a:spLocks noGrp="1"/>
          </p:cNvSpPr>
          <p:nvPr>
            <p:ph sz="half" idx="1"/>
          </p:nvPr>
        </p:nvSpPr>
        <p:spPr/>
        <p:txBody>
          <a:bodyPr/>
          <a:lstStyle/>
          <a:p>
            <a:r>
              <a:rPr lang="en-US" dirty="0"/>
              <a:t>Why is Data Important at Progressive?</a:t>
            </a:r>
          </a:p>
          <a:p>
            <a:r>
              <a:rPr lang="en-US" dirty="0"/>
              <a:t>What is Data Governance?</a:t>
            </a:r>
          </a:p>
          <a:p>
            <a:r>
              <a:rPr lang="en-US" dirty="0"/>
              <a:t>What are the benefits of Data Governance</a:t>
            </a:r>
          </a:p>
          <a:p>
            <a:r>
              <a:rPr lang="en-US" dirty="0"/>
              <a:t>DG Organizational Structure</a:t>
            </a:r>
          </a:p>
          <a:p>
            <a:r>
              <a:rPr lang="en-US" dirty="0"/>
              <a:t>DG Framework</a:t>
            </a:r>
          </a:p>
          <a:p>
            <a:r>
              <a:rPr lang="en-US" dirty="0"/>
              <a:t>DG Capabilities</a:t>
            </a:r>
          </a:p>
          <a:p>
            <a:endParaRPr lang="en-US" dirty="0"/>
          </a:p>
        </p:txBody>
      </p:sp>
    </p:spTree>
    <p:extLst>
      <p:ext uri="{BB962C8B-B14F-4D97-AF65-F5344CB8AC3E}">
        <p14:creationId xmlns:p14="http://schemas.microsoft.com/office/powerpoint/2010/main" val="8222477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C9DCC56C-BA0C-421F-962F-47BDADC9E419}"/>
              </a:ext>
            </a:extLst>
          </p:cNvPr>
          <p:cNvSpPr>
            <a:spLocks noGrp="1"/>
          </p:cNvSpPr>
          <p:nvPr>
            <p:ph type="pic" sz="quarter" idx="11"/>
          </p:nvPr>
        </p:nvSpPr>
        <p:spPr/>
      </p:sp>
      <p:sp>
        <p:nvSpPr>
          <p:cNvPr id="3" name="Text Placeholder 2">
            <a:extLst>
              <a:ext uri="{FF2B5EF4-FFF2-40B4-BE49-F238E27FC236}">
                <a16:creationId xmlns:a16="http://schemas.microsoft.com/office/drawing/2014/main" id="{60767053-9DBE-4CB8-A05D-0F290E858EFC}"/>
              </a:ext>
            </a:extLst>
          </p:cNvPr>
          <p:cNvSpPr>
            <a:spLocks noGrp="1"/>
          </p:cNvSpPr>
          <p:nvPr>
            <p:ph type="body" sz="quarter" idx="10"/>
          </p:nvPr>
        </p:nvSpPr>
        <p:spPr/>
        <p:txBody>
          <a:bodyPr/>
          <a:lstStyle/>
          <a:p>
            <a:r>
              <a:rPr lang="en-US"/>
              <a:t>DG Capabilities – Modernized Data Quality Stack</a:t>
            </a:r>
          </a:p>
        </p:txBody>
      </p:sp>
      <p:graphicFrame>
        <p:nvGraphicFramePr>
          <p:cNvPr id="4" name="Table 4">
            <a:extLst>
              <a:ext uri="{FF2B5EF4-FFF2-40B4-BE49-F238E27FC236}">
                <a16:creationId xmlns:a16="http://schemas.microsoft.com/office/drawing/2014/main" id="{2D812BFE-9296-4786-A466-7A0F75AE46B9}"/>
              </a:ext>
            </a:extLst>
          </p:cNvPr>
          <p:cNvGraphicFramePr>
            <a:graphicFrameLocks noGrp="1"/>
          </p:cNvGraphicFramePr>
          <p:nvPr>
            <p:extLst>
              <p:ext uri="{D42A27DB-BD31-4B8C-83A1-F6EECF244321}">
                <p14:modId xmlns:p14="http://schemas.microsoft.com/office/powerpoint/2010/main" val="1362246698"/>
              </p:ext>
            </p:extLst>
          </p:nvPr>
        </p:nvGraphicFramePr>
        <p:xfrm>
          <a:off x="417873" y="1040213"/>
          <a:ext cx="8128000" cy="4758691"/>
        </p:xfrm>
        <a:graphic>
          <a:graphicData uri="http://schemas.openxmlformats.org/drawingml/2006/table">
            <a:tbl>
              <a:tblPr firstRow="1" bandRow="1"/>
              <a:tblGrid>
                <a:gridCol w="4064000">
                  <a:extLst>
                    <a:ext uri="{9D8B030D-6E8A-4147-A177-3AD203B41FA5}">
                      <a16:colId xmlns:a16="http://schemas.microsoft.com/office/drawing/2014/main" val="3038015203"/>
                    </a:ext>
                  </a:extLst>
                </a:gridCol>
                <a:gridCol w="4064000">
                  <a:extLst>
                    <a:ext uri="{9D8B030D-6E8A-4147-A177-3AD203B41FA5}">
                      <a16:colId xmlns:a16="http://schemas.microsoft.com/office/drawing/2014/main" val="2373917215"/>
                    </a:ext>
                  </a:extLst>
                </a:gridCol>
              </a:tblGrid>
              <a:tr h="303138">
                <a:tc>
                  <a:txBody>
                    <a:bodyPr/>
                    <a:lstStyle/>
                    <a:p>
                      <a:r>
                        <a:rPr lang="en-US" sz="1600" b="1">
                          <a:solidFill>
                            <a:schemeClr val="bg1"/>
                          </a:solidFill>
                          <a:latin typeface="Calibri" panose="020F0502020204030204" pitchFamily="34" charset="0"/>
                          <a:cs typeface="Calibri" panose="020F0502020204030204" pitchFamily="34" charset="0"/>
                        </a:rPr>
                        <a:t>Current Stack</a:t>
                      </a:r>
                    </a:p>
                  </a:txBody>
                  <a:tcPr>
                    <a:solidFill>
                      <a:srgbClr val="1E73E9"/>
                    </a:solidFill>
                  </a:tcPr>
                </a:tc>
                <a:tc>
                  <a:txBody>
                    <a:bodyPr/>
                    <a:lstStyle/>
                    <a:p>
                      <a:r>
                        <a:rPr lang="en-US" sz="1600" b="1">
                          <a:solidFill>
                            <a:schemeClr val="bg1"/>
                          </a:solidFill>
                          <a:latin typeface="Calibri" panose="020F0502020204030204" pitchFamily="34" charset="0"/>
                          <a:cs typeface="Calibri" panose="020F0502020204030204" pitchFamily="34" charset="0"/>
                        </a:rPr>
                        <a:t>Future Stack</a:t>
                      </a:r>
                    </a:p>
                  </a:txBody>
                  <a:tcPr>
                    <a:solidFill>
                      <a:srgbClr val="1E73E9"/>
                    </a:solidFill>
                  </a:tcPr>
                </a:tc>
                <a:extLst>
                  <a:ext uri="{0D108BD9-81ED-4DB2-BD59-A6C34878D82A}">
                    <a16:rowId xmlns:a16="http://schemas.microsoft.com/office/drawing/2014/main" val="2996147281"/>
                  </a:ext>
                </a:extLst>
              </a:tr>
              <a:tr h="823762">
                <a:tc>
                  <a:txBody>
                    <a:bodyPr/>
                    <a:lstStyle/>
                    <a:p>
                      <a:pPr marL="285750" indent="-285750">
                        <a:buFont typeface="Wingdings" panose="05000000000000000000" pitchFamily="2" charset="2"/>
                        <a:buChar char="Ø"/>
                      </a:pPr>
                      <a:r>
                        <a:rPr lang="en-US" sz="1400" b="1">
                          <a:latin typeface="Calibri" panose="020F0502020204030204" pitchFamily="34" charset="0"/>
                          <a:cs typeface="Calibri" panose="020F0502020204030204" pitchFamily="34" charset="0"/>
                        </a:rPr>
                        <a:t>On-Premise </a:t>
                      </a:r>
                    </a:p>
                    <a:p>
                      <a:pPr marL="742950" lvl="1" indent="-285750">
                        <a:buFont typeface="Arial" panose="020B0604020202020204" pitchFamily="34" charset="0"/>
                        <a:buChar char="•"/>
                      </a:pPr>
                      <a:r>
                        <a:rPr lang="en-US" sz="1400">
                          <a:latin typeface="Calibri" panose="020F0502020204030204" pitchFamily="34" charset="0"/>
                          <a:cs typeface="Calibri" panose="020F0502020204030204" pitchFamily="34" charset="0"/>
                        </a:rPr>
                        <a:t>$$$ to administer/house hardware and software</a:t>
                      </a:r>
                    </a:p>
                  </a:txBody>
                  <a:tcPr/>
                </a:tc>
                <a:tc>
                  <a:txBody>
                    <a:bodyPr/>
                    <a:lstStyle/>
                    <a:p>
                      <a:pPr marL="285750" indent="-285750">
                        <a:buFont typeface="Wingdings" panose="05000000000000000000" pitchFamily="2" charset="2"/>
                        <a:buChar char="Ø"/>
                      </a:pPr>
                      <a:r>
                        <a:rPr lang="en-US" sz="1400" b="1">
                          <a:latin typeface="Calibri" panose="020F0502020204030204" pitchFamily="34" charset="0"/>
                          <a:cs typeface="Calibri" panose="020F0502020204030204" pitchFamily="34" charset="0"/>
                        </a:rPr>
                        <a:t>Cloud </a:t>
                      </a:r>
                    </a:p>
                    <a:p>
                      <a:pPr marL="742950" lvl="1" indent="-285750">
                        <a:buFont typeface="Arial" panose="020B0604020202020204" pitchFamily="34" charset="0"/>
                        <a:buChar char="•"/>
                      </a:pPr>
                      <a:r>
                        <a:rPr lang="en-US" sz="1400">
                          <a:latin typeface="Calibri" panose="020F0502020204030204" pitchFamily="34" charset="0"/>
                          <a:cs typeface="Calibri" panose="020F0502020204030204" pitchFamily="34" charset="0"/>
                        </a:rPr>
                        <a:t>$ to administer subscription-based service</a:t>
                      </a:r>
                    </a:p>
                  </a:txBody>
                  <a:tcPr/>
                </a:tc>
                <a:extLst>
                  <a:ext uri="{0D108BD9-81ED-4DB2-BD59-A6C34878D82A}">
                    <a16:rowId xmlns:a16="http://schemas.microsoft.com/office/drawing/2014/main" val="4169334752"/>
                  </a:ext>
                </a:extLst>
              </a:tr>
              <a:tr h="765009">
                <a:tc>
                  <a:txBody>
                    <a:bodyPr/>
                    <a:lstStyle/>
                    <a:p>
                      <a:pPr marL="285750" indent="-285750">
                        <a:buFont typeface="Wingdings" panose="05000000000000000000" pitchFamily="2" charset="2"/>
                        <a:buChar char="Ø"/>
                      </a:pPr>
                      <a:r>
                        <a:rPr lang="en-US" sz="1400" b="1">
                          <a:latin typeface="Calibri" panose="020F0502020204030204" pitchFamily="34" charset="0"/>
                          <a:cs typeface="Calibri" panose="020F0502020204030204" pitchFamily="34" charset="0"/>
                        </a:rPr>
                        <a:t>DQ at Rest </a:t>
                      </a:r>
                    </a:p>
                    <a:p>
                      <a:pPr marL="742950" lvl="1" indent="-285750">
                        <a:buFont typeface="Arial" panose="020B0604020202020204" pitchFamily="34" charset="0"/>
                        <a:buChar char="•"/>
                      </a:pPr>
                      <a:r>
                        <a:rPr lang="en-US" sz="1400">
                          <a:latin typeface="Calibri" panose="020F0502020204030204" pitchFamily="34" charset="0"/>
                          <a:cs typeface="Calibri" panose="020F0502020204030204" pitchFamily="34" charset="0"/>
                        </a:rPr>
                        <a:t>Measures &amp; metrics performed on target tables after data load</a:t>
                      </a:r>
                    </a:p>
                  </a:txBody>
                  <a:tcPr/>
                </a:tc>
                <a:tc>
                  <a:txBody>
                    <a:bodyPr/>
                    <a:lstStyle/>
                    <a:p>
                      <a:pPr marL="285750" indent="-285750">
                        <a:buFont typeface="Wingdings" panose="05000000000000000000" pitchFamily="2" charset="2"/>
                        <a:buChar char="Ø"/>
                      </a:pPr>
                      <a:r>
                        <a:rPr lang="en-US" sz="1400" b="1" dirty="0">
                          <a:latin typeface="Calibri" panose="020F0502020204030204" pitchFamily="34" charset="0"/>
                          <a:cs typeface="Calibri" panose="020F0502020204030204" pitchFamily="34" charset="0"/>
                        </a:rPr>
                        <a:t>DQ In Motion &amp; at Rest </a:t>
                      </a:r>
                    </a:p>
                    <a:p>
                      <a:pPr marL="742950" lvl="1" indent="-285750">
                        <a:buFont typeface="Arial" panose="020B0604020202020204" pitchFamily="34" charset="0"/>
                        <a:buChar char="•"/>
                      </a:pPr>
                      <a:r>
                        <a:rPr lang="en-US" sz="1400" dirty="0">
                          <a:latin typeface="Calibri" panose="020F0502020204030204" pitchFamily="34" charset="0"/>
                          <a:cs typeface="Calibri" panose="020F0502020204030204" pitchFamily="34" charset="0"/>
                        </a:rPr>
                        <a:t>Measures &amp; metrics performed as data is loaded</a:t>
                      </a:r>
                    </a:p>
                  </a:txBody>
                  <a:tcPr/>
                </a:tc>
                <a:extLst>
                  <a:ext uri="{0D108BD9-81ED-4DB2-BD59-A6C34878D82A}">
                    <a16:rowId xmlns:a16="http://schemas.microsoft.com/office/drawing/2014/main" val="225372531"/>
                  </a:ext>
                </a:extLst>
              </a:tr>
              <a:tr h="1087351">
                <a:tc>
                  <a:txBody>
                    <a:bodyPr/>
                    <a:lstStyle/>
                    <a:p>
                      <a:pPr marL="285750" indent="-285750">
                        <a:buFont typeface="Wingdings" panose="05000000000000000000" pitchFamily="2" charset="2"/>
                        <a:buChar char="Ø"/>
                      </a:pPr>
                      <a:r>
                        <a:rPr lang="en-US" sz="1400" b="1">
                          <a:latin typeface="Calibri" panose="020F0502020204030204" pitchFamily="34" charset="0"/>
                          <a:cs typeface="Calibri" panose="020F0502020204030204" pitchFamily="34" charset="0"/>
                        </a:rPr>
                        <a:t>Reactive DQ </a:t>
                      </a:r>
                    </a:p>
                    <a:p>
                      <a:pPr marL="742950" lvl="1" indent="-285750">
                        <a:buFont typeface="Arial" panose="020B0604020202020204" pitchFamily="34" charset="0"/>
                        <a:buChar char="•"/>
                      </a:pPr>
                      <a:r>
                        <a:rPr lang="en-US" sz="1400">
                          <a:latin typeface="Calibri" panose="020F0502020204030204" pitchFamily="34" charset="0"/>
                          <a:cs typeface="Calibri" panose="020F0502020204030204" pitchFamily="34" charset="0"/>
                        </a:rPr>
                        <a:t>Failing values noted after table loads and business rules executed – no active warning of fails &amp; analytics begins with bad data</a:t>
                      </a:r>
                    </a:p>
                  </a:txBody>
                  <a:tcPr/>
                </a:tc>
                <a:tc>
                  <a:txBody>
                    <a:bodyPr/>
                    <a:lstStyle/>
                    <a:p>
                      <a:pPr marL="285750" indent="-285750">
                        <a:buFont typeface="Wingdings" panose="05000000000000000000" pitchFamily="2" charset="2"/>
                        <a:buChar char="Ø"/>
                      </a:pPr>
                      <a:r>
                        <a:rPr lang="en-US" sz="1400" b="1">
                          <a:latin typeface="Calibri" panose="020F0502020204030204" pitchFamily="34" charset="0"/>
                          <a:cs typeface="Calibri" panose="020F0502020204030204" pitchFamily="34" charset="0"/>
                        </a:rPr>
                        <a:t>Proactive DQ</a:t>
                      </a:r>
                    </a:p>
                    <a:p>
                      <a:pPr marL="742950" lvl="1" indent="-285750">
                        <a:buFont typeface="Arial" panose="020B0604020202020204" pitchFamily="34" charset="0"/>
                        <a:buChar char="•"/>
                      </a:pPr>
                      <a:r>
                        <a:rPr lang="en-US" sz="1400">
                          <a:latin typeface="Calibri" panose="020F0502020204030204" pitchFamily="34" charset="0"/>
                          <a:cs typeface="Calibri" panose="020F0502020204030204" pitchFamily="34" charset="0"/>
                        </a:rPr>
                        <a:t>Pattern deviations noted at the time of data load – warnings distributed prior to start of analytics</a:t>
                      </a:r>
                    </a:p>
                  </a:txBody>
                  <a:tcPr/>
                </a:tc>
                <a:extLst>
                  <a:ext uri="{0D108BD9-81ED-4DB2-BD59-A6C34878D82A}">
                    <a16:rowId xmlns:a16="http://schemas.microsoft.com/office/drawing/2014/main" val="902817503"/>
                  </a:ext>
                </a:extLst>
              </a:tr>
              <a:tr h="941865">
                <a:tc>
                  <a:txBody>
                    <a:bodyPr/>
                    <a:lstStyle/>
                    <a:p>
                      <a:pPr marL="285750" indent="-285750">
                        <a:buFont typeface="Wingdings" panose="05000000000000000000" pitchFamily="2" charset="2"/>
                        <a:buChar char="Ø"/>
                      </a:pPr>
                      <a:r>
                        <a:rPr lang="en-US" sz="1400" b="1" dirty="0">
                          <a:latin typeface="Calibri" panose="020F0502020204030204" pitchFamily="34" charset="0"/>
                          <a:cs typeface="Calibri" panose="020F0502020204030204" pitchFamily="34" charset="0"/>
                        </a:rPr>
                        <a:t>System Monitoring </a:t>
                      </a:r>
                    </a:p>
                    <a:p>
                      <a:pPr marL="742950" lvl="1" indent="-285750">
                        <a:buFont typeface="Arial" panose="020B0604020202020204" pitchFamily="34" charset="0"/>
                        <a:buChar char="•"/>
                      </a:pPr>
                      <a:r>
                        <a:rPr lang="en-US" sz="1400" dirty="0">
                          <a:latin typeface="Calibri" panose="020F0502020204030204" pitchFamily="34" charset="0"/>
                          <a:cs typeface="Calibri" panose="020F0502020204030204" pitchFamily="34" charset="0"/>
                        </a:rPr>
                        <a:t>The job failed</a:t>
                      </a:r>
                    </a:p>
                    <a:p>
                      <a:pPr marL="742950" lvl="1" indent="-285750">
                        <a:buFont typeface="Arial" panose="020B0604020202020204" pitchFamily="34" charset="0"/>
                        <a:buChar char="•"/>
                      </a:pPr>
                      <a:r>
                        <a:rPr lang="en-US" sz="1400" dirty="0">
                          <a:latin typeface="Calibri" panose="020F0502020204030204" pitchFamily="34" charset="0"/>
                          <a:cs typeface="Calibri" panose="020F0502020204030204" pitchFamily="34" charset="0"/>
                        </a:rPr>
                        <a:t>The server is down</a:t>
                      </a:r>
                    </a:p>
                  </a:txBody>
                  <a:tcPr/>
                </a:tc>
                <a:tc>
                  <a:txBody>
                    <a:bodyPr/>
                    <a:lstStyle/>
                    <a:p>
                      <a:pPr marL="285750" indent="-285750">
                        <a:buFont typeface="Wingdings" panose="05000000000000000000" pitchFamily="2" charset="2"/>
                        <a:buChar char="Ø"/>
                      </a:pPr>
                      <a:r>
                        <a:rPr lang="en-US" sz="1400" b="1">
                          <a:latin typeface="Calibri" panose="020F0502020204030204" pitchFamily="34" charset="0"/>
                          <a:cs typeface="Calibri" panose="020F0502020204030204" pitchFamily="34" charset="0"/>
                        </a:rPr>
                        <a:t>Data Monitoring</a:t>
                      </a:r>
                    </a:p>
                    <a:p>
                      <a:pPr marL="742950" lvl="1" indent="-285750">
                        <a:buFont typeface="Arial" panose="020B0604020202020204" pitchFamily="34" charset="0"/>
                        <a:buChar char="•"/>
                      </a:pPr>
                      <a:r>
                        <a:rPr lang="en-US" sz="1400">
                          <a:latin typeface="Calibri" panose="020F0502020204030204" pitchFamily="34" charset="0"/>
                          <a:cs typeface="Calibri" panose="020F0502020204030204" pitchFamily="34" charset="0"/>
                        </a:rPr>
                        <a:t>The file schema has changed</a:t>
                      </a:r>
                    </a:p>
                    <a:p>
                      <a:pPr marL="742950" lvl="1" indent="-285750">
                        <a:buFont typeface="Arial" panose="020B0604020202020204" pitchFamily="34" charset="0"/>
                        <a:buChar char="•"/>
                      </a:pPr>
                      <a:r>
                        <a:rPr lang="en-US" sz="1400">
                          <a:latin typeface="Calibri" panose="020F0502020204030204" pitchFamily="34" charset="0"/>
                          <a:cs typeface="Calibri" panose="020F0502020204030204" pitchFamily="34" charset="0"/>
                        </a:rPr>
                        <a:t>The file is same as yesterday</a:t>
                      </a:r>
                    </a:p>
                    <a:p>
                      <a:pPr marL="742950" lvl="1" indent="-285750">
                        <a:buFont typeface="Arial" panose="020B0604020202020204" pitchFamily="34" charset="0"/>
                        <a:buChar char="•"/>
                      </a:pPr>
                      <a:r>
                        <a:rPr lang="en-US" sz="1400">
                          <a:latin typeface="Calibri" panose="020F0502020204030204" pitchFamily="34" charset="0"/>
                          <a:cs typeface="Calibri" panose="020F0502020204030204" pitchFamily="34" charset="0"/>
                        </a:rPr>
                        <a:t>The data is ready for analytics/reporting</a:t>
                      </a:r>
                    </a:p>
                  </a:txBody>
                  <a:tcPr/>
                </a:tc>
                <a:extLst>
                  <a:ext uri="{0D108BD9-81ED-4DB2-BD59-A6C34878D82A}">
                    <a16:rowId xmlns:a16="http://schemas.microsoft.com/office/drawing/2014/main" val="1300643597"/>
                  </a:ext>
                </a:extLst>
              </a:tr>
              <a:tr h="708624">
                <a:tc>
                  <a:txBody>
                    <a:bodyPr/>
                    <a:lstStyle/>
                    <a:p>
                      <a:pPr marL="285750" indent="-285750">
                        <a:buFont typeface="Wingdings" panose="05000000000000000000" pitchFamily="2" charset="2"/>
                        <a:buChar char="Ø"/>
                      </a:pPr>
                      <a:r>
                        <a:rPr lang="en-US" sz="1400" b="1">
                          <a:latin typeface="Calibri" panose="020F0502020204030204" pitchFamily="34" charset="0"/>
                          <a:cs typeface="Calibri" panose="020F0502020204030204" pitchFamily="34" charset="0"/>
                        </a:rPr>
                        <a:t>Manual Profiling</a:t>
                      </a:r>
                    </a:p>
                    <a:p>
                      <a:pPr marL="742950" lvl="1" indent="-285750">
                        <a:buFont typeface="Arial" panose="020B0604020202020204" pitchFamily="34" charset="0"/>
                        <a:buChar char="•"/>
                      </a:pPr>
                      <a:r>
                        <a:rPr lang="en-US" sz="1400">
                          <a:latin typeface="Calibri" panose="020F0502020204030204" pitchFamily="34" charset="0"/>
                          <a:cs typeface="Calibri" panose="020F0502020204030204" pitchFamily="34" charset="0"/>
                        </a:rPr>
                        <a:t>Profiling is manually performed on as-needed basis; minimal use cases</a:t>
                      </a:r>
                    </a:p>
                  </a:txBody>
                  <a:tcPr/>
                </a:tc>
                <a:tc>
                  <a:txBody>
                    <a:bodyPr/>
                    <a:lstStyle/>
                    <a:p>
                      <a:pPr marL="285750" indent="-285750">
                        <a:buFont typeface="Wingdings" panose="05000000000000000000" pitchFamily="2" charset="2"/>
                        <a:buChar char="Ø"/>
                      </a:pPr>
                      <a:r>
                        <a:rPr lang="en-US" sz="1400" b="1" dirty="0">
                          <a:latin typeface="Calibri" panose="020F0502020204030204" pitchFamily="34" charset="0"/>
                          <a:cs typeface="Calibri" panose="020F0502020204030204" pitchFamily="34" charset="0"/>
                        </a:rPr>
                        <a:t>Automated Historical Profiling</a:t>
                      </a:r>
                    </a:p>
                    <a:p>
                      <a:pPr marL="742950" lvl="1" indent="-285750">
                        <a:buFont typeface="Arial" panose="020B0604020202020204" pitchFamily="34" charset="0"/>
                        <a:buChar char="•"/>
                      </a:pPr>
                      <a:r>
                        <a:rPr lang="en-US" sz="1400" dirty="0">
                          <a:latin typeface="Calibri" panose="020F0502020204030204" pitchFamily="34" charset="0"/>
                          <a:cs typeface="Calibri" panose="020F0502020204030204" pitchFamily="34" charset="0"/>
                        </a:rPr>
                        <a:t>Historical statistics about data quality metrics is automated</a:t>
                      </a:r>
                    </a:p>
                  </a:txBody>
                  <a:tcPr/>
                </a:tc>
                <a:extLst>
                  <a:ext uri="{0D108BD9-81ED-4DB2-BD59-A6C34878D82A}">
                    <a16:rowId xmlns:a16="http://schemas.microsoft.com/office/drawing/2014/main" val="1961993751"/>
                  </a:ext>
                </a:extLst>
              </a:tr>
            </a:tbl>
          </a:graphicData>
        </a:graphic>
      </p:graphicFrame>
      <p:sp>
        <p:nvSpPr>
          <p:cNvPr id="5" name="Rectangle 4">
            <a:extLst>
              <a:ext uri="{FF2B5EF4-FFF2-40B4-BE49-F238E27FC236}">
                <a16:creationId xmlns:a16="http://schemas.microsoft.com/office/drawing/2014/main" id="{B37CE8A0-0E65-42EC-9328-D5C9B267100C}"/>
              </a:ext>
            </a:extLst>
          </p:cNvPr>
          <p:cNvSpPr/>
          <p:nvPr/>
        </p:nvSpPr>
        <p:spPr>
          <a:xfrm>
            <a:off x="8721969" y="71039"/>
            <a:ext cx="3225522" cy="3968397"/>
          </a:xfrm>
          <a:prstGeom prst="rect">
            <a:avLst/>
          </a:prstGeom>
          <a:solidFill>
            <a:srgbClr val="F3F9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0332A1E6-67AE-4557-AEB6-1F722E7BF086}"/>
              </a:ext>
            </a:extLst>
          </p:cNvPr>
          <p:cNvSpPr txBox="1"/>
          <p:nvPr/>
        </p:nvSpPr>
        <p:spPr>
          <a:xfrm>
            <a:off x="8719331" y="2352200"/>
            <a:ext cx="3390608" cy="372409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400" b="1" i="0">
                <a:solidFill>
                  <a:srgbClr val="444444"/>
                </a:solidFill>
                <a:effectLst/>
                <a:latin typeface="Calibri" panose="020F0502020204030204" pitchFamily="34" charset="0"/>
                <a:cs typeface="Calibri" panose="020F0502020204030204" pitchFamily="34" charset="0"/>
              </a:rPr>
              <a:t>Key Benefits</a:t>
            </a:r>
            <a:r>
              <a:rPr lang="en-US" sz="1300" b="1">
                <a:solidFill>
                  <a:srgbClr val="444444"/>
                </a:solidFill>
                <a:latin typeface="Calibri" panose="020F0502020204030204" pitchFamily="34" charset="0"/>
                <a:cs typeface="Calibri" panose="020F0502020204030204" pitchFamily="34" charset="0"/>
              </a:rPr>
              <a:t>:</a:t>
            </a:r>
          </a:p>
          <a:p>
            <a:pPr marL="342900" marR="0" lvl="0" indent="-342900" algn="l" defTabSz="914400" rtl="0" eaLnBrk="1" fontAlgn="auto" latinLnBrk="0" hangingPunct="1">
              <a:lnSpc>
                <a:spcPct val="100000"/>
              </a:lnSpc>
              <a:spcBef>
                <a:spcPts val="0"/>
              </a:spcBef>
              <a:spcAft>
                <a:spcPts val="600"/>
              </a:spcAft>
              <a:buClrTx/>
              <a:buSzTx/>
              <a:buFont typeface="Symbol" panose="05050102010706020507" pitchFamily="18" charset="2"/>
              <a:buChar char=""/>
              <a:tabLst/>
              <a:defRPr/>
            </a:pPr>
            <a:r>
              <a:rPr lang="en-US" sz="1300" b="1" i="0">
                <a:solidFill>
                  <a:srgbClr val="333333"/>
                </a:solidFill>
                <a:effectLst/>
                <a:latin typeface="Calibri" panose="020F0502020204030204" pitchFamily="34" charset="0"/>
                <a:cs typeface="Calibri" panose="020F0502020204030204" pitchFamily="34" charset="0"/>
              </a:rPr>
              <a:t>Decreased cost </a:t>
            </a:r>
            <a:r>
              <a:rPr lang="en-US" sz="1300" b="0" i="0">
                <a:solidFill>
                  <a:srgbClr val="333333"/>
                </a:solidFill>
                <a:effectLst/>
                <a:latin typeface="Calibri" panose="020F0502020204030204" pitchFamily="34" charset="0"/>
                <a:cs typeface="Calibri" panose="020F0502020204030204" pitchFamily="34" charset="0"/>
              </a:rPr>
              <a:t>– Savings realized both in administrative/hardware costs, as well as automated profiling to reduce coding of simple DQ statistics.</a:t>
            </a:r>
          </a:p>
          <a:p>
            <a:pPr marL="342900" marR="0" lvl="0" indent="-342900" algn="l" defTabSz="914400" rtl="0" eaLnBrk="1" fontAlgn="auto" latinLnBrk="0" hangingPunct="1">
              <a:lnSpc>
                <a:spcPct val="100000"/>
              </a:lnSpc>
              <a:spcBef>
                <a:spcPts val="0"/>
              </a:spcBef>
              <a:spcAft>
                <a:spcPts val="600"/>
              </a:spcAft>
              <a:buClrTx/>
              <a:buSzTx/>
              <a:buFont typeface="Symbol" panose="05050102010706020507" pitchFamily="18" charset="2"/>
              <a:buChar char=""/>
              <a:tabLst/>
              <a:defRPr/>
            </a:pPr>
            <a:r>
              <a:rPr lang="en-US" sz="1300" b="1" i="0">
                <a:solidFill>
                  <a:srgbClr val="333333"/>
                </a:solidFill>
                <a:effectLst/>
                <a:latin typeface="Calibri" panose="020F0502020204030204" pitchFamily="34" charset="0"/>
                <a:cs typeface="Calibri" panose="020F0502020204030204" pitchFamily="34" charset="0"/>
              </a:rPr>
              <a:t>Real-Time Monitoring </a:t>
            </a:r>
            <a:r>
              <a:rPr lang="en-US" sz="1300" b="0" i="0">
                <a:solidFill>
                  <a:srgbClr val="333333"/>
                </a:solidFill>
                <a:effectLst/>
                <a:latin typeface="Calibri" panose="020F0502020204030204" pitchFamily="34" charset="0"/>
                <a:cs typeface="Calibri" panose="020F0502020204030204" pitchFamily="34" charset="0"/>
              </a:rPr>
              <a:t>-  Awareness of anomalies at the time of data load.</a:t>
            </a:r>
          </a:p>
          <a:p>
            <a:pPr marL="342900" marR="0" lvl="0" indent="-342900" algn="l" defTabSz="914400" rtl="0" eaLnBrk="1" fontAlgn="auto" latinLnBrk="0" hangingPunct="1">
              <a:lnSpc>
                <a:spcPct val="100000"/>
              </a:lnSpc>
              <a:spcBef>
                <a:spcPts val="0"/>
              </a:spcBef>
              <a:spcAft>
                <a:spcPts val="600"/>
              </a:spcAft>
              <a:buClrTx/>
              <a:buSzTx/>
              <a:buFont typeface="Symbol" panose="05050102010706020507" pitchFamily="18" charset="2"/>
              <a:buChar char=""/>
              <a:tabLst/>
              <a:defRPr/>
            </a:pPr>
            <a:r>
              <a:rPr lang="en-US" sz="1300" b="1" i="0">
                <a:solidFill>
                  <a:srgbClr val="333333"/>
                </a:solidFill>
                <a:effectLst/>
                <a:latin typeface="Calibri" panose="020F0502020204030204" pitchFamily="34" charset="0"/>
                <a:cs typeface="Calibri" panose="020F0502020204030204" pitchFamily="34" charset="0"/>
              </a:rPr>
              <a:t>Software Consolidation </a:t>
            </a:r>
            <a:r>
              <a:rPr lang="en-US" sz="1300" b="0" i="0">
                <a:solidFill>
                  <a:srgbClr val="333333"/>
                </a:solidFill>
                <a:effectLst/>
                <a:latin typeface="Calibri" panose="020F0502020204030204" pitchFamily="34" charset="0"/>
                <a:cs typeface="Calibri" panose="020F0502020204030204" pitchFamily="34" charset="0"/>
              </a:rPr>
              <a:t>– Reduction of software tools – selection of best fit for 4 data quality patterns</a:t>
            </a:r>
          </a:p>
          <a:p>
            <a:pPr marL="342900" marR="0" lvl="0" indent="-342900" algn="l" defTabSz="914400" rtl="0" eaLnBrk="1" fontAlgn="auto" latinLnBrk="0" hangingPunct="1">
              <a:lnSpc>
                <a:spcPct val="100000"/>
              </a:lnSpc>
              <a:spcBef>
                <a:spcPts val="0"/>
              </a:spcBef>
              <a:spcAft>
                <a:spcPts val="600"/>
              </a:spcAft>
              <a:buClrTx/>
              <a:buSzTx/>
              <a:buFont typeface="Symbol" panose="05050102010706020507" pitchFamily="18" charset="2"/>
              <a:buChar char=""/>
              <a:tabLst/>
              <a:defRPr/>
            </a:pPr>
            <a:endParaRPr lang="en-US" sz="1300" b="0" i="0">
              <a:solidFill>
                <a:srgbClr val="333333"/>
              </a:solidFill>
              <a:effectLst/>
              <a:latin typeface="Calibri" panose="020F0502020204030204" pitchFamily="34" charset="0"/>
              <a:cs typeface="Calibri" panose="020F0502020204030204" pitchFamily="34" charset="0"/>
            </a:endParaRPr>
          </a:p>
          <a:p>
            <a:pPr marL="342900" marR="0" lvl="0" indent="-342900" algn="l" defTabSz="914400" rtl="0" eaLnBrk="1" fontAlgn="auto" latinLnBrk="0" hangingPunct="1">
              <a:lnSpc>
                <a:spcPct val="100000"/>
              </a:lnSpc>
              <a:spcBef>
                <a:spcPts val="0"/>
              </a:spcBef>
              <a:spcAft>
                <a:spcPts val="600"/>
              </a:spcAft>
              <a:buClrTx/>
              <a:buSzTx/>
              <a:buFont typeface="Symbol" panose="05050102010706020507" pitchFamily="18" charset="2"/>
              <a:buChar char=""/>
              <a:tabLst/>
              <a:defRPr/>
            </a:pPr>
            <a:endParaRPr lang="en-US" sz="1300" b="0" i="0">
              <a:solidFill>
                <a:srgbClr val="333333"/>
              </a:solidFill>
              <a:effectLst/>
              <a:latin typeface="Calibri" panose="020F0502020204030204" pitchFamily="34" charset="0"/>
              <a:cs typeface="Calibri" panose="020F0502020204030204" pitchFamily="34" charset="0"/>
            </a:endParaRPr>
          </a:p>
          <a:p>
            <a:pPr marL="342900" marR="0" lvl="0" indent="-342900" algn="l" defTabSz="914400" rtl="0" eaLnBrk="1" fontAlgn="auto" latinLnBrk="0" hangingPunct="1">
              <a:lnSpc>
                <a:spcPct val="100000"/>
              </a:lnSpc>
              <a:spcBef>
                <a:spcPts val="0"/>
              </a:spcBef>
              <a:spcAft>
                <a:spcPts val="600"/>
              </a:spcAft>
              <a:buClrTx/>
              <a:buSzTx/>
              <a:buFont typeface="Symbol" panose="05050102010706020507" pitchFamily="18" charset="2"/>
              <a:buChar char=""/>
              <a:tabLst/>
              <a:defRPr/>
            </a:pPr>
            <a:endParaRPr lang="en-US" sz="1300" b="0" i="0">
              <a:solidFill>
                <a:srgbClr val="333333"/>
              </a:solidFill>
              <a:effectLst/>
              <a:latin typeface="Calibri" panose="020F0502020204030204" pitchFamily="34" charset="0"/>
              <a:cs typeface="Calibri" panose="020F0502020204030204" pitchFamily="34" charset="0"/>
            </a:endParaRPr>
          </a:p>
          <a:p>
            <a:pPr marL="342900" marR="0" lvl="0" indent="-342900" algn="l" defTabSz="914400" rtl="0" eaLnBrk="1" fontAlgn="auto" latinLnBrk="0" hangingPunct="1">
              <a:lnSpc>
                <a:spcPct val="100000"/>
              </a:lnSpc>
              <a:spcBef>
                <a:spcPts val="0"/>
              </a:spcBef>
              <a:spcAft>
                <a:spcPts val="600"/>
              </a:spcAft>
              <a:buClrTx/>
              <a:buSzTx/>
              <a:buFont typeface="Symbol" panose="05050102010706020507" pitchFamily="18" charset="2"/>
              <a:buChar char=""/>
              <a:tabLst/>
              <a:defRPr/>
            </a:pPr>
            <a:endParaRPr lang="en-US" sz="1300" b="0" i="0">
              <a:solidFill>
                <a:srgbClr val="333333"/>
              </a:solidFill>
              <a:effectLst/>
              <a:latin typeface="Calibri" panose="020F0502020204030204" pitchFamily="34" charset="0"/>
              <a:cs typeface="Calibri" panose="020F0502020204030204" pitchFamily="34" charset="0"/>
            </a:endParaRPr>
          </a:p>
          <a:p>
            <a:pPr marL="342900" marR="0" lvl="0" indent="-342900" algn="l" defTabSz="914400" rtl="0" eaLnBrk="1" fontAlgn="auto" latinLnBrk="0" hangingPunct="1">
              <a:lnSpc>
                <a:spcPct val="100000"/>
              </a:lnSpc>
              <a:spcBef>
                <a:spcPts val="0"/>
              </a:spcBef>
              <a:spcAft>
                <a:spcPts val="600"/>
              </a:spcAft>
              <a:buClrTx/>
              <a:buSzTx/>
              <a:buFont typeface="Symbol" panose="05050102010706020507" pitchFamily="18" charset="2"/>
              <a:buChar char=""/>
              <a:tabLst/>
              <a:defRPr/>
            </a:pPr>
            <a:endParaRPr lang="en-US" sz="1300" b="0" i="0">
              <a:solidFill>
                <a:srgbClr val="333333"/>
              </a:solidFill>
              <a:effectLst/>
              <a:latin typeface="Calibri" panose="020F0502020204030204" pitchFamily="34" charset="0"/>
              <a:cs typeface="Calibri" panose="020F0502020204030204" pitchFamily="34" charset="0"/>
            </a:endParaRPr>
          </a:p>
        </p:txBody>
      </p:sp>
      <p:pic>
        <p:nvPicPr>
          <p:cNvPr id="12290" name="Picture 2" descr="Quality Control vs. Quality Assurance? What's the Difference?">
            <a:extLst>
              <a:ext uri="{FF2B5EF4-FFF2-40B4-BE49-F238E27FC236}">
                <a16:creationId xmlns:a16="http://schemas.microsoft.com/office/drawing/2014/main" id="{EE1374DA-E5C0-441B-AE02-3BA9D9FCDEE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509502" y="726647"/>
            <a:ext cx="1837721" cy="1166497"/>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B029A518-09B2-4EDC-B82C-E7999DA3D043}"/>
              </a:ext>
            </a:extLst>
          </p:cNvPr>
          <p:cNvSpPr txBox="1"/>
          <p:nvPr/>
        </p:nvSpPr>
        <p:spPr>
          <a:xfrm>
            <a:off x="417873" y="5988881"/>
            <a:ext cx="7569960" cy="461665"/>
          </a:xfrm>
          <a:prstGeom prst="rect">
            <a:avLst/>
          </a:prstGeom>
          <a:noFill/>
        </p:spPr>
        <p:txBody>
          <a:bodyPr wrap="square" rtlCol="0">
            <a:spAutoFit/>
          </a:bodyPr>
          <a:lstStyle/>
          <a:p>
            <a:r>
              <a:rPr lang="en-US" sz="1200"/>
              <a:t>* Many of today’s </a:t>
            </a:r>
            <a:r>
              <a:rPr lang="en-US" sz="1200" err="1"/>
              <a:t>DataFlux</a:t>
            </a:r>
            <a:r>
              <a:rPr lang="en-US" sz="1200"/>
              <a:t> and </a:t>
            </a:r>
            <a:r>
              <a:rPr lang="en-US" sz="1200" err="1"/>
              <a:t>Infogix</a:t>
            </a:r>
            <a:r>
              <a:rPr lang="en-US" sz="1200"/>
              <a:t> jobs standardize, cleanse, enrich and/or remediate data prior to or rather than providing metrics, measures or balances</a:t>
            </a:r>
          </a:p>
        </p:txBody>
      </p:sp>
    </p:spTree>
    <p:extLst>
      <p:ext uri="{BB962C8B-B14F-4D97-AF65-F5344CB8AC3E}">
        <p14:creationId xmlns:p14="http://schemas.microsoft.com/office/powerpoint/2010/main" val="40740479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BBA5053A-4E94-4B45-AFB2-007874CDD075}"/>
              </a:ext>
            </a:extLst>
          </p:cNvPr>
          <p:cNvSpPr>
            <a:spLocks noGrp="1"/>
          </p:cNvSpPr>
          <p:nvPr>
            <p:ph type="pic" sz="quarter" idx="11"/>
          </p:nvPr>
        </p:nvSpPr>
        <p:spPr>
          <a:xfrm>
            <a:off x="7697037" y="0"/>
            <a:ext cx="4494963" cy="6858000"/>
          </a:xfrm>
          <a:solidFill>
            <a:srgbClr val="F3F9FC"/>
          </a:solidFill>
        </p:spPr>
      </p:sp>
      <p:sp>
        <p:nvSpPr>
          <p:cNvPr id="2" name="Text Placeholder 1">
            <a:extLst>
              <a:ext uri="{FF2B5EF4-FFF2-40B4-BE49-F238E27FC236}">
                <a16:creationId xmlns:a16="http://schemas.microsoft.com/office/drawing/2014/main" id="{B3D828B4-B861-45CC-A9ED-2A15DEF2D5C5}"/>
              </a:ext>
            </a:extLst>
          </p:cNvPr>
          <p:cNvSpPr>
            <a:spLocks noGrp="1"/>
          </p:cNvSpPr>
          <p:nvPr>
            <p:ph type="body" sz="quarter" idx="10"/>
          </p:nvPr>
        </p:nvSpPr>
        <p:spPr/>
        <p:txBody>
          <a:bodyPr/>
          <a:lstStyle/>
          <a:p>
            <a:r>
              <a:rPr lang="en-US" dirty="0"/>
              <a:t>DG Capabilities – Reference Data Management</a:t>
            </a:r>
          </a:p>
        </p:txBody>
      </p:sp>
      <p:sp>
        <p:nvSpPr>
          <p:cNvPr id="15" name="Rectangle 14">
            <a:extLst>
              <a:ext uri="{FF2B5EF4-FFF2-40B4-BE49-F238E27FC236}">
                <a16:creationId xmlns:a16="http://schemas.microsoft.com/office/drawing/2014/main" id="{C0A39139-E628-40B6-9715-9FCE7DBF22E6}"/>
              </a:ext>
            </a:extLst>
          </p:cNvPr>
          <p:cNvSpPr/>
          <p:nvPr/>
        </p:nvSpPr>
        <p:spPr>
          <a:xfrm>
            <a:off x="7941546" y="3182240"/>
            <a:ext cx="4250454" cy="424732"/>
          </a:xfrm>
          <a:prstGeom prst="rect">
            <a:avLst/>
          </a:prstGeom>
          <a:solidFill>
            <a:srgbClr val="F3F9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Table 8">
            <a:extLst>
              <a:ext uri="{FF2B5EF4-FFF2-40B4-BE49-F238E27FC236}">
                <a16:creationId xmlns:a16="http://schemas.microsoft.com/office/drawing/2014/main" id="{A3FC9864-0E83-4E87-A803-83C0A3FEA790}"/>
              </a:ext>
            </a:extLst>
          </p:cNvPr>
          <p:cNvGraphicFramePr>
            <a:graphicFrameLocks noGrp="1"/>
          </p:cNvGraphicFramePr>
          <p:nvPr/>
        </p:nvGraphicFramePr>
        <p:xfrm>
          <a:off x="539060" y="3062866"/>
          <a:ext cx="6783152" cy="1940560"/>
        </p:xfrm>
        <a:graphic>
          <a:graphicData uri="http://schemas.openxmlformats.org/drawingml/2006/table">
            <a:tbl>
              <a:tblPr firstRow="1" bandRow="1">
                <a:tableStyleId>{5C22544A-7EE6-4342-B048-85BDC9FD1C3A}</a:tableStyleId>
              </a:tblPr>
              <a:tblGrid>
                <a:gridCol w="720845">
                  <a:extLst>
                    <a:ext uri="{9D8B030D-6E8A-4147-A177-3AD203B41FA5}">
                      <a16:colId xmlns:a16="http://schemas.microsoft.com/office/drawing/2014/main" val="1005718310"/>
                    </a:ext>
                  </a:extLst>
                </a:gridCol>
                <a:gridCol w="592852">
                  <a:extLst>
                    <a:ext uri="{9D8B030D-6E8A-4147-A177-3AD203B41FA5}">
                      <a16:colId xmlns:a16="http://schemas.microsoft.com/office/drawing/2014/main" val="2197449596"/>
                    </a:ext>
                  </a:extLst>
                </a:gridCol>
                <a:gridCol w="1150855">
                  <a:extLst>
                    <a:ext uri="{9D8B030D-6E8A-4147-A177-3AD203B41FA5}">
                      <a16:colId xmlns:a16="http://schemas.microsoft.com/office/drawing/2014/main" val="127171968"/>
                    </a:ext>
                  </a:extLst>
                </a:gridCol>
                <a:gridCol w="768380">
                  <a:extLst>
                    <a:ext uri="{9D8B030D-6E8A-4147-A177-3AD203B41FA5}">
                      <a16:colId xmlns:a16="http://schemas.microsoft.com/office/drawing/2014/main" val="132824310"/>
                    </a:ext>
                  </a:extLst>
                </a:gridCol>
                <a:gridCol w="1125416">
                  <a:extLst>
                    <a:ext uri="{9D8B030D-6E8A-4147-A177-3AD203B41FA5}">
                      <a16:colId xmlns:a16="http://schemas.microsoft.com/office/drawing/2014/main" val="3956913868"/>
                    </a:ext>
                  </a:extLst>
                </a:gridCol>
                <a:gridCol w="1507253">
                  <a:extLst>
                    <a:ext uri="{9D8B030D-6E8A-4147-A177-3AD203B41FA5}">
                      <a16:colId xmlns:a16="http://schemas.microsoft.com/office/drawing/2014/main" val="4251136573"/>
                    </a:ext>
                  </a:extLst>
                </a:gridCol>
                <a:gridCol w="917551">
                  <a:extLst>
                    <a:ext uri="{9D8B030D-6E8A-4147-A177-3AD203B41FA5}">
                      <a16:colId xmlns:a16="http://schemas.microsoft.com/office/drawing/2014/main" val="1595762310"/>
                    </a:ext>
                  </a:extLst>
                </a:gridCol>
              </a:tblGrid>
              <a:tr h="370840">
                <a:tc>
                  <a:txBody>
                    <a:bodyPr/>
                    <a:lstStyle/>
                    <a:p>
                      <a:pPr algn="ctr"/>
                      <a:r>
                        <a:rPr lang="en-US" sz="1200"/>
                        <a:t>Source</a:t>
                      </a:r>
                    </a:p>
                  </a:txBody>
                  <a:tcPr/>
                </a:tc>
                <a:tc>
                  <a:txBody>
                    <a:bodyPr/>
                    <a:lstStyle/>
                    <a:p>
                      <a:pPr algn="ctr"/>
                      <a:r>
                        <a:rPr lang="en-US" sz="1200"/>
                        <a:t>Code</a:t>
                      </a:r>
                    </a:p>
                  </a:txBody>
                  <a:tcPr/>
                </a:tc>
                <a:tc>
                  <a:txBody>
                    <a:bodyPr/>
                    <a:lstStyle/>
                    <a:p>
                      <a:r>
                        <a:rPr lang="en-US" sz="1200"/>
                        <a:t>Description</a:t>
                      </a:r>
                    </a:p>
                  </a:txBody>
                  <a:tcPr>
                    <a:lnR w="12700" cap="flat" cmpd="sng" algn="ctr">
                      <a:solidFill>
                        <a:schemeClr val="tx1"/>
                      </a:solidFill>
                      <a:prstDash val="solid"/>
                      <a:round/>
                      <a:headEnd type="none" w="med" len="med"/>
                      <a:tailEnd type="none" w="med" len="med"/>
                    </a:lnR>
                  </a:tcPr>
                </a:tc>
                <a:tc>
                  <a:txBody>
                    <a:bodyPr/>
                    <a:lstStyle/>
                    <a:p>
                      <a:pPr algn="ctr"/>
                      <a:r>
                        <a:rPr lang="en-US" sz="1200"/>
                        <a:t>E-RDM Code</a:t>
                      </a:r>
                    </a:p>
                  </a:txBody>
                  <a:tcPr>
                    <a:lnL w="12700" cap="flat" cmpd="sng" algn="ctr">
                      <a:solidFill>
                        <a:schemeClr val="tx1"/>
                      </a:solidFill>
                      <a:prstDash val="solid"/>
                      <a:round/>
                      <a:headEnd type="none" w="med" len="med"/>
                      <a:tailEnd type="none" w="med" len="med"/>
                    </a:lnL>
                    <a:solidFill>
                      <a:schemeClr val="tx2">
                        <a:lumMod val="75000"/>
                      </a:schemeClr>
                    </a:solidFill>
                  </a:tcPr>
                </a:tc>
                <a:tc>
                  <a:txBody>
                    <a:bodyPr/>
                    <a:lstStyle/>
                    <a:p>
                      <a:r>
                        <a:rPr lang="en-US" sz="1200"/>
                        <a:t>E-RDM Description</a:t>
                      </a:r>
                    </a:p>
                  </a:txBody>
                  <a:tcPr>
                    <a:solidFill>
                      <a:schemeClr val="tx2">
                        <a:lumMod val="75000"/>
                      </a:schemeClr>
                    </a:solidFill>
                  </a:tcPr>
                </a:tc>
                <a:tc>
                  <a:txBody>
                    <a:bodyPr/>
                    <a:lstStyle/>
                    <a:p>
                      <a:r>
                        <a:rPr lang="en-US" sz="1200"/>
                        <a:t>E-RDM Product </a:t>
                      </a:r>
                      <a:r>
                        <a:rPr lang="en-US" sz="1200" err="1"/>
                        <a:t>Aggreg</a:t>
                      </a:r>
                      <a:r>
                        <a:rPr lang="en-US" sz="1200"/>
                        <a:t>.</a:t>
                      </a:r>
                    </a:p>
                  </a:txBody>
                  <a:tcPr>
                    <a:solidFill>
                      <a:schemeClr val="tx2">
                        <a:lumMod val="75000"/>
                      </a:schemeClr>
                    </a:solidFill>
                  </a:tcPr>
                </a:tc>
                <a:tc>
                  <a:txBody>
                    <a:bodyPr/>
                    <a:lstStyle/>
                    <a:p>
                      <a:pPr algn="ctr"/>
                      <a:r>
                        <a:rPr lang="en-US" sz="1200"/>
                        <a:t>E-RDM BU</a:t>
                      </a:r>
                    </a:p>
                  </a:txBody>
                  <a:tcPr>
                    <a:solidFill>
                      <a:schemeClr val="tx2">
                        <a:lumMod val="75000"/>
                      </a:schemeClr>
                    </a:solidFill>
                  </a:tcPr>
                </a:tc>
                <a:extLst>
                  <a:ext uri="{0D108BD9-81ED-4DB2-BD59-A6C34878D82A}">
                    <a16:rowId xmlns:a16="http://schemas.microsoft.com/office/drawing/2014/main" val="620597332"/>
                  </a:ext>
                </a:extLst>
              </a:tr>
              <a:tr h="370840">
                <a:tc>
                  <a:txBody>
                    <a:bodyPr/>
                    <a:lstStyle/>
                    <a:p>
                      <a:pPr algn="ctr" fontAlgn="b"/>
                      <a:r>
                        <a:rPr lang="en-US" sz="1100" u="none" strike="noStrike">
                          <a:effectLst/>
                        </a:rPr>
                        <a:t>M20</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US" sz="1100" u="none" strike="noStrike">
                          <a:effectLst/>
                        </a:rPr>
                        <a:t>AA</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US" sz="1100" u="none" strike="noStrike">
                          <a:effectLst/>
                        </a:rPr>
                        <a:t>Aligned Auto</a:t>
                      </a:r>
                      <a:endParaRPr lang="en-US" sz="1100" b="0" i="0" u="none" strike="noStrike">
                        <a:solidFill>
                          <a:srgbClr val="000000"/>
                        </a:solidFill>
                        <a:effectLst/>
                        <a:latin typeface="Calibri" panose="020F0502020204030204" pitchFamily="34" charset="0"/>
                      </a:endParaRPr>
                    </a:p>
                  </a:txBody>
                  <a:tcPr marL="9525" marR="9525" marT="9525" marB="0" anchor="b">
                    <a:lnR w="12700" cap="flat" cmpd="sng" algn="ctr">
                      <a:solidFill>
                        <a:schemeClr val="tx1"/>
                      </a:solidFill>
                      <a:prstDash val="solid"/>
                      <a:round/>
                      <a:headEnd type="none" w="med" len="med"/>
                      <a:tailEnd type="none" w="med" len="med"/>
                    </a:lnR>
                  </a:tcPr>
                </a:tc>
                <a:tc>
                  <a:txBody>
                    <a:bodyPr/>
                    <a:lstStyle/>
                    <a:p>
                      <a:pPr algn="ctr" fontAlgn="b"/>
                      <a:r>
                        <a:rPr lang="en-US" sz="1100" u="none" strike="noStrike">
                          <a:effectLst/>
                        </a:rPr>
                        <a:t>AU</a:t>
                      </a:r>
                      <a:endParaRPr lang="en-US"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tcPr>
                </a:tc>
                <a:tc>
                  <a:txBody>
                    <a:bodyPr/>
                    <a:lstStyle/>
                    <a:p>
                      <a:pPr algn="l" fontAlgn="b"/>
                      <a:r>
                        <a:rPr lang="en-US" sz="1100" u="none" strike="noStrike">
                          <a:effectLst/>
                        </a:rPr>
                        <a:t>Automobile</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US" sz="1100" u="none" strike="noStrike">
                          <a:effectLst/>
                        </a:rPr>
                        <a:t>Personal Vehicle</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US" sz="1100" u="none" strike="noStrike">
                          <a:effectLst/>
                        </a:rPr>
                        <a:t>PL</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522448805"/>
                  </a:ext>
                </a:extLst>
              </a:tr>
              <a:tr h="370840">
                <a:tc>
                  <a:txBody>
                    <a:bodyPr/>
                    <a:lstStyle/>
                    <a:p>
                      <a:pPr algn="ctr" fontAlgn="b"/>
                      <a:r>
                        <a:rPr lang="en-US" sz="1100" u="none" strike="noStrike">
                          <a:effectLst/>
                        </a:rPr>
                        <a:t>DCA</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US" sz="1100" u="none" strike="noStrike">
                          <a:effectLst/>
                        </a:rPr>
                        <a:t>AU</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US" sz="1100" u="none" strike="noStrike">
                          <a:effectLst/>
                        </a:rPr>
                        <a:t>Automobile</a:t>
                      </a:r>
                      <a:endParaRPr lang="en-US" sz="1100" b="0" i="0" u="none" strike="noStrike">
                        <a:solidFill>
                          <a:srgbClr val="000000"/>
                        </a:solidFill>
                        <a:effectLst/>
                        <a:latin typeface="Calibri" panose="020F0502020204030204" pitchFamily="34" charset="0"/>
                      </a:endParaRPr>
                    </a:p>
                  </a:txBody>
                  <a:tcPr marL="9525" marR="9525" marT="9525" marB="0" anchor="b">
                    <a:lnR w="12700" cap="flat" cmpd="sng" algn="ctr">
                      <a:solidFill>
                        <a:schemeClr val="tx1"/>
                      </a:solidFill>
                      <a:prstDash val="solid"/>
                      <a:round/>
                      <a:headEnd type="none" w="med" len="med"/>
                      <a:tailEnd type="none" w="med" len="med"/>
                    </a:lnR>
                  </a:tcPr>
                </a:tc>
                <a:tc>
                  <a:txBody>
                    <a:bodyPr/>
                    <a:lstStyle/>
                    <a:p>
                      <a:pPr algn="ctr" fontAlgn="b"/>
                      <a:r>
                        <a:rPr lang="en-US" sz="1100" u="none" strike="noStrike">
                          <a:effectLst/>
                        </a:rPr>
                        <a:t>AU</a:t>
                      </a:r>
                      <a:endParaRPr lang="en-US"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tcPr>
                </a:tc>
                <a:tc>
                  <a:txBody>
                    <a:bodyPr/>
                    <a:lstStyle/>
                    <a:p>
                      <a:pPr algn="l" fontAlgn="b"/>
                      <a:r>
                        <a:rPr lang="en-US" sz="1100" u="none" strike="noStrike">
                          <a:effectLst/>
                        </a:rPr>
                        <a:t>Automobile</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US" sz="1100" u="none" strike="noStrike">
                          <a:effectLst/>
                        </a:rPr>
                        <a:t>Personal Vehicle</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US" sz="1100" u="none" strike="noStrike">
                          <a:effectLst/>
                        </a:rPr>
                        <a:t>PL</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999161482"/>
                  </a:ext>
                </a:extLst>
              </a:tr>
              <a:tr h="370840">
                <a:tc>
                  <a:txBody>
                    <a:bodyPr/>
                    <a:lstStyle/>
                    <a:p>
                      <a:pPr algn="ctr" fontAlgn="b"/>
                      <a:r>
                        <a:rPr lang="en-US" sz="1100" u="none" strike="noStrike">
                          <a:effectLst/>
                        </a:rPr>
                        <a:t>M20</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US" sz="1100" u="none" strike="noStrike">
                          <a:effectLst/>
                        </a:rPr>
                        <a:t>MC</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US" sz="1100" u="none" strike="noStrike">
                          <a:effectLst/>
                        </a:rPr>
                        <a:t>Regular Motorcycle</a:t>
                      </a:r>
                      <a:endParaRPr lang="en-US" sz="1100" b="0" i="0" u="none" strike="noStrike">
                        <a:solidFill>
                          <a:srgbClr val="000000"/>
                        </a:solidFill>
                        <a:effectLst/>
                        <a:latin typeface="Calibri" panose="020F0502020204030204" pitchFamily="34" charset="0"/>
                      </a:endParaRPr>
                    </a:p>
                  </a:txBody>
                  <a:tcPr marL="9525" marR="9525" marT="9525" marB="0" anchor="b">
                    <a:lnR w="12700" cap="flat" cmpd="sng" algn="ctr">
                      <a:solidFill>
                        <a:schemeClr val="tx1"/>
                      </a:solidFill>
                      <a:prstDash val="solid"/>
                      <a:round/>
                      <a:headEnd type="none" w="med" len="med"/>
                      <a:tailEnd type="none" w="med" len="med"/>
                    </a:lnR>
                  </a:tcPr>
                </a:tc>
                <a:tc>
                  <a:txBody>
                    <a:bodyPr/>
                    <a:lstStyle/>
                    <a:p>
                      <a:pPr algn="ctr" fontAlgn="b"/>
                      <a:r>
                        <a:rPr lang="en-US" sz="1100" u="none" strike="noStrike">
                          <a:effectLst/>
                        </a:rPr>
                        <a:t>MC</a:t>
                      </a:r>
                      <a:endParaRPr lang="en-US"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tcPr>
                </a:tc>
                <a:tc>
                  <a:txBody>
                    <a:bodyPr/>
                    <a:lstStyle/>
                    <a:p>
                      <a:pPr algn="l" fontAlgn="b"/>
                      <a:r>
                        <a:rPr lang="en-US" sz="1100" u="none" strike="noStrike">
                          <a:effectLst/>
                        </a:rPr>
                        <a:t>Motorcycle</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US" sz="1100" u="none" strike="noStrike">
                          <a:effectLst/>
                        </a:rPr>
                        <a:t>Personal Vehicle</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US" sz="1100" u="none" strike="noStrike">
                          <a:effectLst/>
                        </a:rPr>
                        <a:t>PL</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242901858"/>
                  </a:ext>
                </a:extLst>
              </a:tr>
              <a:tr h="370840">
                <a:tc>
                  <a:txBody>
                    <a:bodyPr/>
                    <a:lstStyle/>
                    <a:p>
                      <a:pPr algn="ctr" fontAlgn="b"/>
                      <a:r>
                        <a:rPr lang="en-US" sz="1100" u="none" strike="noStrike">
                          <a:effectLst/>
                        </a:rPr>
                        <a:t>DCA</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US" sz="1100" u="none" strike="noStrike">
                          <a:effectLst/>
                        </a:rPr>
                        <a:t>MC</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US" sz="1100" u="none" strike="noStrike">
                          <a:effectLst/>
                        </a:rPr>
                        <a:t>Motorcycle</a:t>
                      </a:r>
                      <a:endParaRPr lang="en-US" sz="1100" b="0" i="0" u="none" strike="noStrike">
                        <a:solidFill>
                          <a:srgbClr val="000000"/>
                        </a:solidFill>
                        <a:effectLst/>
                        <a:latin typeface="Calibri" panose="020F0502020204030204" pitchFamily="34" charset="0"/>
                      </a:endParaRPr>
                    </a:p>
                  </a:txBody>
                  <a:tcPr marL="9525" marR="9525" marT="9525" marB="0" anchor="b">
                    <a:lnR w="12700" cap="flat" cmpd="sng" algn="ctr">
                      <a:solidFill>
                        <a:schemeClr val="tx1"/>
                      </a:solidFill>
                      <a:prstDash val="solid"/>
                      <a:round/>
                      <a:headEnd type="none" w="med" len="med"/>
                      <a:tailEnd type="none" w="med" len="med"/>
                    </a:lnR>
                  </a:tcPr>
                </a:tc>
                <a:tc>
                  <a:txBody>
                    <a:bodyPr/>
                    <a:lstStyle/>
                    <a:p>
                      <a:pPr algn="ctr" fontAlgn="b"/>
                      <a:r>
                        <a:rPr lang="en-US" sz="1100" u="none" strike="noStrike">
                          <a:effectLst/>
                        </a:rPr>
                        <a:t>MC</a:t>
                      </a:r>
                      <a:endParaRPr lang="en-US"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tcPr>
                </a:tc>
                <a:tc>
                  <a:txBody>
                    <a:bodyPr/>
                    <a:lstStyle/>
                    <a:p>
                      <a:pPr algn="l" fontAlgn="b"/>
                      <a:r>
                        <a:rPr lang="en-US" sz="1100" u="none" strike="noStrike">
                          <a:effectLst/>
                        </a:rPr>
                        <a:t>Motorcycle</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US" sz="1100" u="none" strike="noStrike">
                          <a:effectLst/>
                        </a:rPr>
                        <a:t>Personal Vehicle</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US" sz="1100" u="none" strike="noStrike">
                          <a:effectLst/>
                        </a:rPr>
                        <a:t>PL</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797335664"/>
                  </a:ext>
                </a:extLst>
              </a:tr>
            </a:tbl>
          </a:graphicData>
        </a:graphic>
      </p:graphicFrame>
      <p:sp>
        <p:nvSpPr>
          <p:cNvPr id="9" name="TextBox 8">
            <a:extLst>
              <a:ext uri="{FF2B5EF4-FFF2-40B4-BE49-F238E27FC236}">
                <a16:creationId xmlns:a16="http://schemas.microsoft.com/office/drawing/2014/main" id="{CDAB1531-A05E-4B8F-A8CC-6F3794C64252}"/>
              </a:ext>
            </a:extLst>
          </p:cNvPr>
          <p:cNvSpPr txBox="1"/>
          <p:nvPr/>
        </p:nvSpPr>
        <p:spPr>
          <a:xfrm>
            <a:off x="7777424" y="734415"/>
            <a:ext cx="4250454" cy="63863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400" b="1" i="0">
                <a:solidFill>
                  <a:srgbClr val="444444"/>
                </a:solidFill>
                <a:effectLst/>
                <a:latin typeface="Calibri" panose="020F0502020204030204" pitchFamily="34" charset="0"/>
              </a:rPr>
              <a:t>Key Benefits &amp; Usage</a:t>
            </a:r>
            <a:r>
              <a:rPr lang="en-US" sz="1300" b="1">
                <a:solidFill>
                  <a:srgbClr val="444444"/>
                </a:solidFill>
                <a:latin typeface="Calibri" panose="020F0502020204030204" pitchFamily="34" charset="0"/>
              </a:rPr>
              <a:t>:</a:t>
            </a:r>
          </a:p>
          <a:p>
            <a:pPr marL="342900" marR="0" lvl="0" indent="-342900" algn="l" defTabSz="914400" rtl="0" eaLnBrk="1" fontAlgn="auto" latinLnBrk="0" hangingPunct="1">
              <a:lnSpc>
                <a:spcPct val="100000"/>
              </a:lnSpc>
              <a:spcBef>
                <a:spcPts val="0"/>
              </a:spcBef>
              <a:spcAft>
                <a:spcPts val="600"/>
              </a:spcAft>
              <a:buClrTx/>
              <a:buSzTx/>
              <a:buFont typeface="Symbol" panose="05050102010706020507" pitchFamily="18" charset="2"/>
              <a:buChar char=""/>
              <a:tabLst/>
              <a:defRPr/>
            </a:pPr>
            <a:r>
              <a:rPr lang="en-US" sz="1300" b="1" i="0">
                <a:solidFill>
                  <a:srgbClr val="333333"/>
                </a:solidFill>
                <a:effectLst/>
                <a:latin typeface="Whitney SSm A"/>
              </a:rPr>
              <a:t>Increased Accuracy and Consistency </a:t>
            </a:r>
            <a:r>
              <a:rPr lang="en-US" sz="1300" b="0" i="0">
                <a:solidFill>
                  <a:srgbClr val="333333"/>
                </a:solidFill>
                <a:effectLst/>
                <a:latin typeface="Whitney SSm A"/>
              </a:rPr>
              <a:t>- By centralizing reference data in one place, you can ensure that it is always up to date and consistent and/or cross-referenced across all applications. This eliminates the risk of inconsistency caused by different departments using different versions of the same data.</a:t>
            </a:r>
          </a:p>
          <a:p>
            <a:pPr marL="342900" marR="0" lvl="0" indent="-342900" algn="l" defTabSz="914400" rtl="0" eaLnBrk="1" fontAlgn="auto" latinLnBrk="0" hangingPunct="1">
              <a:lnSpc>
                <a:spcPct val="100000"/>
              </a:lnSpc>
              <a:spcBef>
                <a:spcPts val="0"/>
              </a:spcBef>
              <a:spcAft>
                <a:spcPts val="600"/>
              </a:spcAft>
              <a:buClrTx/>
              <a:buSzTx/>
              <a:buFont typeface="Symbol" panose="05050102010706020507" pitchFamily="18" charset="2"/>
              <a:buChar char=""/>
              <a:tabLst/>
              <a:defRPr/>
            </a:pPr>
            <a:r>
              <a:rPr lang="en-US" sz="1300" b="1" i="0">
                <a:solidFill>
                  <a:srgbClr val="333333"/>
                </a:solidFill>
                <a:effectLst/>
                <a:latin typeface="Whitney SSm A"/>
              </a:rPr>
              <a:t>Improved Decision-Making </a:t>
            </a:r>
            <a:r>
              <a:rPr lang="en-US" sz="1300" b="0" i="0">
                <a:solidFill>
                  <a:srgbClr val="333333"/>
                </a:solidFill>
                <a:effectLst/>
                <a:latin typeface="Whitney SSm A"/>
              </a:rPr>
              <a:t>-  Reference data is an essential input into most business decisions, so having a reliable system for managing it makes it easier to make informed choices quickly and efficiently. With accurate and up-to-date reference data at your fingertips, you can avoid delays caused by having to track down information from multiple sources.</a:t>
            </a:r>
          </a:p>
          <a:p>
            <a:pPr marL="342900" marR="0" lvl="0" indent="-342900" algn="l" defTabSz="914400" rtl="0" eaLnBrk="1" fontAlgn="auto" latinLnBrk="0" hangingPunct="1">
              <a:lnSpc>
                <a:spcPct val="100000"/>
              </a:lnSpc>
              <a:spcBef>
                <a:spcPts val="0"/>
              </a:spcBef>
              <a:spcAft>
                <a:spcPts val="600"/>
              </a:spcAft>
              <a:buClrTx/>
              <a:buSzTx/>
              <a:buFont typeface="Symbol" panose="05050102010706020507" pitchFamily="18" charset="2"/>
              <a:buChar char=""/>
              <a:tabLst/>
              <a:defRPr/>
            </a:pPr>
            <a:r>
              <a:rPr lang="en-US" sz="1300" b="1" i="0">
                <a:solidFill>
                  <a:srgbClr val="333333"/>
                </a:solidFill>
                <a:effectLst/>
                <a:latin typeface="Whitney SSm A"/>
              </a:rPr>
              <a:t>Reduced IT/Analytic Costs </a:t>
            </a:r>
            <a:r>
              <a:rPr lang="en-US" sz="1300" b="0" i="0">
                <a:solidFill>
                  <a:srgbClr val="333333"/>
                </a:solidFill>
                <a:effectLst/>
                <a:latin typeface="Whitney SSm A"/>
              </a:rPr>
              <a:t>- A well-designed RDM system can automate many routine tasks related to managing reference data, such as cleansing, standardizing, and consolidating data sets. This reduces the workload on IT/Analytics staff and allows them to focus on more strategic projects.</a:t>
            </a:r>
          </a:p>
          <a:p>
            <a:pPr marL="342900" marR="0" lvl="0" indent="-342900" algn="l" defTabSz="914400" rtl="0" eaLnBrk="1" fontAlgn="auto" latinLnBrk="0" hangingPunct="1">
              <a:lnSpc>
                <a:spcPct val="100000"/>
              </a:lnSpc>
              <a:spcBef>
                <a:spcPts val="0"/>
              </a:spcBef>
              <a:spcAft>
                <a:spcPts val="600"/>
              </a:spcAft>
              <a:buClrTx/>
              <a:buSzTx/>
              <a:buFont typeface="Symbol" panose="05050102010706020507" pitchFamily="18" charset="2"/>
              <a:buChar char=""/>
              <a:tabLst/>
              <a:defRPr/>
            </a:pPr>
            <a:r>
              <a:rPr lang="en-US" sz="1300" b="1" i="0">
                <a:solidFill>
                  <a:srgbClr val="333333"/>
                </a:solidFill>
                <a:effectLst/>
                <a:latin typeface="Whitney SSm A"/>
              </a:rPr>
              <a:t>Fewer Data Quality Issues </a:t>
            </a:r>
            <a:r>
              <a:rPr lang="en-US" sz="1300" b="0" i="0">
                <a:solidFill>
                  <a:srgbClr val="333333"/>
                </a:solidFill>
                <a:effectLst/>
                <a:latin typeface="Whitney SSm A"/>
              </a:rPr>
              <a:t>-  When reference data is inaccurate, unstandardized or out of date, it can lead to confusion and costly mistakes. </a:t>
            </a:r>
          </a:p>
          <a:p>
            <a:pPr marL="342900" marR="0" lvl="0" indent="-342900" algn="l" defTabSz="914400" rtl="0" eaLnBrk="1" fontAlgn="auto" latinLnBrk="0" hangingPunct="1">
              <a:lnSpc>
                <a:spcPct val="100000"/>
              </a:lnSpc>
              <a:spcBef>
                <a:spcPts val="0"/>
              </a:spcBef>
              <a:spcAft>
                <a:spcPts val="600"/>
              </a:spcAft>
              <a:buClrTx/>
              <a:buSzTx/>
              <a:buFont typeface="Symbol" panose="05050102010706020507" pitchFamily="18" charset="2"/>
              <a:buChar char=""/>
              <a:tabLst/>
              <a:defRPr/>
            </a:pPr>
            <a:endParaRPr lang="en-US" sz="1300" b="0" i="0">
              <a:solidFill>
                <a:srgbClr val="333333"/>
              </a:solidFill>
              <a:effectLst/>
              <a:latin typeface="Whitney SSm A"/>
            </a:endParaRPr>
          </a:p>
          <a:p>
            <a:pPr marL="342900" marR="0" lvl="0" indent="-342900" algn="l" defTabSz="914400" rtl="0" eaLnBrk="1" fontAlgn="auto" latinLnBrk="0" hangingPunct="1">
              <a:lnSpc>
                <a:spcPct val="100000"/>
              </a:lnSpc>
              <a:spcBef>
                <a:spcPts val="0"/>
              </a:spcBef>
              <a:spcAft>
                <a:spcPts val="600"/>
              </a:spcAft>
              <a:buClrTx/>
              <a:buSzTx/>
              <a:buFont typeface="Symbol" panose="05050102010706020507" pitchFamily="18" charset="2"/>
              <a:buChar char=""/>
              <a:tabLst/>
              <a:defRPr/>
            </a:pPr>
            <a:endParaRPr lang="en-US" sz="1300" b="0" i="0">
              <a:solidFill>
                <a:srgbClr val="333333"/>
              </a:solidFill>
              <a:effectLst/>
              <a:latin typeface="Whitney SSm A"/>
            </a:endParaRPr>
          </a:p>
          <a:p>
            <a:pPr marL="342900" marR="0" lvl="0" indent="-342900" algn="l" defTabSz="914400" rtl="0" eaLnBrk="1" fontAlgn="auto" latinLnBrk="0" hangingPunct="1">
              <a:lnSpc>
                <a:spcPct val="100000"/>
              </a:lnSpc>
              <a:spcBef>
                <a:spcPts val="0"/>
              </a:spcBef>
              <a:spcAft>
                <a:spcPts val="600"/>
              </a:spcAft>
              <a:buClrTx/>
              <a:buSzTx/>
              <a:buFont typeface="Symbol" panose="05050102010706020507" pitchFamily="18" charset="2"/>
              <a:buChar char=""/>
              <a:tabLst/>
              <a:defRPr/>
            </a:pPr>
            <a:endParaRPr lang="en-US" sz="1300" b="0" i="0">
              <a:solidFill>
                <a:srgbClr val="333333"/>
              </a:solidFill>
              <a:effectLst/>
              <a:latin typeface="Whitney SSm A"/>
            </a:endParaRPr>
          </a:p>
          <a:p>
            <a:pPr marL="342900" marR="0" lvl="0" indent="-342900" algn="l" defTabSz="914400" rtl="0" eaLnBrk="1" fontAlgn="auto" latinLnBrk="0" hangingPunct="1">
              <a:lnSpc>
                <a:spcPct val="100000"/>
              </a:lnSpc>
              <a:spcBef>
                <a:spcPts val="0"/>
              </a:spcBef>
              <a:spcAft>
                <a:spcPts val="600"/>
              </a:spcAft>
              <a:buClrTx/>
              <a:buSzTx/>
              <a:buFont typeface="Symbol" panose="05050102010706020507" pitchFamily="18" charset="2"/>
              <a:buChar char=""/>
              <a:tabLst/>
              <a:defRPr/>
            </a:pPr>
            <a:endParaRPr lang="en-US" sz="1300" b="0" i="0">
              <a:solidFill>
                <a:srgbClr val="333333"/>
              </a:solidFill>
              <a:effectLst/>
              <a:latin typeface="Whitney SSm A"/>
            </a:endParaRPr>
          </a:p>
          <a:p>
            <a:pPr marL="342900" marR="0" lvl="0" indent="-342900" algn="l" defTabSz="914400" rtl="0" eaLnBrk="1" fontAlgn="auto" latinLnBrk="0" hangingPunct="1">
              <a:lnSpc>
                <a:spcPct val="100000"/>
              </a:lnSpc>
              <a:spcBef>
                <a:spcPts val="0"/>
              </a:spcBef>
              <a:spcAft>
                <a:spcPts val="600"/>
              </a:spcAft>
              <a:buClrTx/>
              <a:buSzTx/>
              <a:buFont typeface="Symbol" panose="05050102010706020507" pitchFamily="18" charset="2"/>
              <a:buChar char=""/>
              <a:tabLst/>
              <a:defRPr/>
            </a:pPr>
            <a:endParaRPr lang="en-US" sz="1300" b="0" i="0">
              <a:solidFill>
                <a:srgbClr val="333333"/>
              </a:solidFill>
              <a:effectLst/>
              <a:latin typeface="Whitney SSm A"/>
            </a:endParaRPr>
          </a:p>
        </p:txBody>
      </p:sp>
      <p:sp>
        <p:nvSpPr>
          <p:cNvPr id="11" name="TextBox 10">
            <a:extLst>
              <a:ext uri="{FF2B5EF4-FFF2-40B4-BE49-F238E27FC236}">
                <a16:creationId xmlns:a16="http://schemas.microsoft.com/office/drawing/2014/main" id="{0F374D0F-356E-445C-B4C5-F70099ADA449}"/>
              </a:ext>
            </a:extLst>
          </p:cNvPr>
          <p:cNvSpPr txBox="1"/>
          <p:nvPr/>
        </p:nvSpPr>
        <p:spPr>
          <a:xfrm>
            <a:off x="539060" y="1456857"/>
            <a:ext cx="6783152" cy="830997"/>
          </a:xfrm>
          <a:prstGeom prst="rect">
            <a:avLst/>
          </a:prstGeom>
          <a:solidFill>
            <a:srgbClr val="F3F9FC"/>
          </a:solidFill>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600" b="1" i="0">
                <a:solidFill>
                  <a:srgbClr val="444444"/>
                </a:solidFill>
                <a:effectLst/>
                <a:latin typeface="Calibri" panose="020F0502020204030204" pitchFamily="34" charset="0"/>
              </a:rPr>
              <a:t>Reference Data Management</a:t>
            </a:r>
            <a:r>
              <a:rPr lang="en-US" sz="1600" b="0" i="0">
                <a:solidFill>
                  <a:srgbClr val="444444"/>
                </a:solidFill>
                <a:effectLst/>
                <a:latin typeface="Calibri" panose="020F0502020204030204" pitchFamily="34" charset="0"/>
              </a:rPr>
              <a:t> creates an enterprise-wide cross-reference solution of source code values/descriptions, standardized code values/descriptions, and aggregations or segmentations of the individual values.</a:t>
            </a:r>
          </a:p>
        </p:txBody>
      </p:sp>
      <p:sp>
        <p:nvSpPr>
          <p:cNvPr id="12" name="Rectangle 11">
            <a:extLst>
              <a:ext uri="{FF2B5EF4-FFF2-40B4-BE49-F238E27FC236}">
                <a16:creationId xmlns:a16="http://schemas.microsoft.com/office/drawing/2014/main" id="{4BB6B149-8254-4A43-AB8E-869819B51759}"/>
              </a:ext>
            </a:extLst>
          </p:cNvPr>
          <p:cNvSpPr/>
          <p:nvPr/>
        </p:nvSpPr>
        <p:spPr>
          <a:xfrm>
            <a:off x="7697037" y="71040"/>
            <a:ext cx="4250454" cy="424732"/>
          </a:xfrm>
          <a:prstGeom prst="rect">
            <a:avLst/>
          </a:prstGeom>
          <a:solidFill>
            <a:srgbClr val="F3F9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C443FC00-DF33-4879-AADD-752DFDB60EB2}"/>
              </a:ext>
            </a:extLst>
          </p:cNvPr>
          <p:cNvSpPr txBox="1"/>
          <p:nvPr/>
        </p:nvSpPr>
        <p:spPr>
          <a:xfrm>
            <a:off x="452176" y="2708259"/>
            <a:ext cx="962123" cy="338554"/>
          </a:xfrm>
          <a:prstGeom prst="rect">
            <a:avLst/>
          </a:prstGeom>
          <a:noFill/>
        </p:spPr>
        <p:txBody>
          <a:bodyPr wrap="none" rtlCol="0">
            <a:spAutoFit/>
          </a:bodyPr>
          <a:lstStyle/>
          <a:p>
            <a:r>
              <a:rPr lang="en-US" sz="1600" b="1">
                <a:latin typeface="Calibri" panose="020F0502020204030204" pitchFamily="34" charset="0"/>
                <a:cs typeface="Calibri" panose="020F0502020204030204" pitchFamily="34" charset="0"/>
              </a:rPr>
              <a:t>Example:</a:t>
            </a:r>
          </a:p>
        </p:txBody>
      </p:sp>
      <p:sp>
        <p:nvSpPr>
          <p:cNvPr id="14" name="TextBox 13">
            <a:extLst>
              <a:ext uri="{FF2B5EF4-FFF2-40B4-BE49-F238E27FC236}">
                <a16:creationId xmlns:a16="http://schemas.microsoft.com/office/drawing/2014/main" id="{7521E038-8597-436F-8B27-B04383118DAC}"/>
              </a:ext>
            </a:extLst>
          </p:cNvPr>
          <p:cNvSpPr txBox="1"/>
          <p:nvPr/>
        </p:nvSpPr>
        <p:spPr>
          <a:xfrm>
            <a:off x="611414" y="5178909"/>
            <a:ext cx="6191320" cy="1446550"/>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0"/>
              </a:spcBef>
              <a:spcAft>
                <a:spcPts val="600"/>
              </a:spcAft>
              <a:buClrTx/>
              <a:buSzTx/>
              <a:buFont typeface="Symbol" panose="05050102010706020507" pitchFamily="18" charset="2"/>
              <a:buChar char=""/>
              <a:tabLst/>
              <a:defRPr/>
            </a:pPr>
            <a:r>
              <a:rPr lang="en-US" sz="1300" b="1" i="0">
                <a:solidFill>
                  <a:srgbClr val="333333"/>
                </a:solidFill>
                <a:effectLst/>
                <a:latin typeface="Whitney SSm A"/>
              </a:rPr>
              <a:t>Code Inventory </a:t>
            </a:r>
            <a:r>
              <a:rPr lang="en-US" sz="1300" b="0" i="0">
                <a:solidFill>
                  <a:srgbClr val="333333"/>
                </a:solidFill>
                <a:effectLst/>
                <a:latin typeface="Whitney SSm A"/>
              </a:rPr>
              <a:t>– each source system would provide the code value pairs for governed reference data</a:t>
            </a:r>
          </a:p>
          <a:p>
            <a:pPr marL="342900" marR="0" lvl="0" indent="-342900" algn="l" defTabSz="914400" rtl="0" eaLnBrk="1" fontAlgn="auto" latinLnBrk="0" hangingPunct="1">
              <a:lnSpc>
                <a:spcPct val="100000"/>
              </a:lnSpc>
              <a:spcBef>
                <a:spcPts val="0"/>
              </a:spcBef>
              <a:spcAft>
                <a:spcPts val="600"/>
              </a:spcAft>
              <a:buClrTx/>
              <a:buSzTx/>
              <a:buFont typeface="Symbol" panose="05050102010706020507" pitchFamily="18" charset="2"/>
              <a:buChar char=""/>
              <a:tabLst/>
              <a:defRPr/>
            </a:pPr>
            <a:r>
              <a:rPr lang="en-US" sz="1300" b="1">
                <a:solidFill>
                  <a:srgbClr val="333333"/>
                </a:solidFill>
                <a:latin typeface="Whitney SSm A"/>
              </a:rPr>
              <a:t>Standardization</a:t>
            </a:r>
            <a:r>
              <a:rPr lang="en-US" sz="1300">
                <a:solidFill>
                  <a:srgbClr val="333333"/>
                </a:solidFill>
                <a:latin typeface="Whitney SSm A"/>
              </a:rPr>
              <a:t> – business/IT representatives collaborate to create common enterprise codes, as well as how each code is aggregated, segmented, etc. for various use cases</a:t>
            </a:r>
            <a:endParaRPr lang="en-US" sz="1300" b="0" i="0">
              <a:solidFill>
                <a:srgbClr val="333333"/>
              </a:solidFill>
              <a:effectLst/>
              <a:latin typeface="Whitney SSm A"/>
            </a:endParaRPr>
          </a:p>
          <a:p>
            <a:pPr marL="342900" marR="0" lvl="0" indent="-342900" algn="l" defTabSz="914400" rtl="0" eaLnBrk="1" fontAlgn="auto" latinLnBrk="0" hangingPunct="1">
              <a:lnSpc>
                <a:spcPct val="100000"/>
              </a:lnSpc>
              <a:spcBef>
                <a:spcPts val="0"/>
              </a:spcBef>
              <a:spcAft>
                <a:spcPts val="600"/>
              </a:spcAft>
              <a:buClrTx/>
              <a:buSzTx/>
              <a:buFont typeface="Symbol" panose="05050102010706020507" pitchFamily="18" charset="2"/>
              <a:buChar char=""/>
              <a:tabLst/>
              <a:defRPr/>
            </a:pPr>
            <a:endParaRPr lang="en-US" sz="1300" b="0" i="0">
              <a:solidFill>
                <a:srgbClr val="333333"/>
              </a:solidFill>
              <a:effectLst/>
              <a:latin typeface="Whitney SSm A"/>
            </a:endParaRPr>
          </a:p>
        </p:txBody>
      </p:sp>
      <p:pic>
        <p:nvPicPr>
          <p:cNvPr id="10244" name="Picture 4" descr="Chapter 17 Joining (Merging) Data | R for HR: An Introduction to Human  Resource Analytics Using R">
            <a:extLst>
              <a:ext uri="{FF2B5EF4-FFF2-40B4-BE49-F238E27FC236}">
                <a16:creationId xmlns:a16="http://schemas.microsoft.com/office/drawing/2014/main" id="{606719E3-7C9E-43F6-9550-130A023717F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55764"/>
          <a:stretch/>
        </p:blipFill>
        <p:spPr bwMode="auto">
          <a:xfrm>
            <a:off x="8316738" y="5902184"/>
            <a:ext cx="3171825" cy="6362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3580535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04D4898-6F13-4EDB-B2DF-413A1045B441}"/>
              </a:ext>
            </a:extLst>
          </p:cNvPr>
          <p:cNvSpPr>
            <a:spLocks noGrp="1"/>
          </p:cNvSpPr>
          <p:nvPr>
            <p:ph type="pic" sz="quarter" idx="11"/>
          </p:nvPr>
        </p:nvSpPr>
        <p:spPr/>
      </p:sp>
      <p:sp>
        <p:nvSpPr>
          <p:cNvPr id="2" name="Text Placeholder 1">
            <a:extLst>
              <a:ext uri="{FF2B5EF4-FFF2-40B4-BE49-F238E27FC236}">
                <a16:creationId xmlns:a16="http://schemas.microsoft.com/office/drawing/2014/main" id="{0A2A045A-D4AA-4F11-964D-6926A6F76CE3}"/>
              </a:ext>
            </a:extLst>
          </p:cNvPr>
          <p:cNvSpPr>
            <a:spLocks noGrp="1"/>
          </p:cNvSpPr>
          <p:nvPr>
            <p:ph type="body" sz="quarter" idx="10"/>
          </p:nvPr>
        </p:nvSpPr>
        <p:spPr/>
        <p:txBody>
          <a:bodyPr/>
          <a:lstStyle/>
          <a:p>
            <a:r>
              <a:rPr lang="en-US"/>
              <a:t>DG Capabilities - Lineage</a:t>
            </a:r>
          </a:p>
        </p:txBody>
      </p:sp>
      <p:pic>
        <p:nvPicPr>
          <p:cNvPr id="7172" name="Picture 4" descr="See the source image">
            <a:extLst>
              <a:ext uri="{FF2B5EF4-FFF2-40B4-BE49-F238E27FC236}">
                <a16:creationId xmlns:a16="http://schemas.microsoft.com/office/drawing/2014/main" id="{AEB35165-70FB-4B5B-AB05-53164CB38ECA}"/>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4574" t="9821" r="6287" b="13465"/>
          <a:stretch/>
        </p:blipFill>
        <p:spPr bwMode="auto">
          <a:xfrm>
            <a:off x="105706" y="1487156"/>
            <a:ext cx="8531564" cy="4732773"/>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79308D70-3AB6-45BF-BC7A-A0E3C0B69C48}"/>
              </a:ext>
            </a:extLst>
          </p:cNvPr>
          <p:cNvSpPr txBox="1"/>
          <p:nvPr/>
        </p:nvSpPr>
        <p:spPr>
          <a:xfrm>
            <a:off x="8872212" y="1968308"/>
            <a:ext cx="3084845" cy="4031873"/>
          </a:xfrm>
          <a:prstGeom prst="rect">
            <a:avLst/>
          </a:prstGeom>
          <a:noFill/>
        </p:spPr>
        <p:txBody>
          <a:bodyPr wrap="square" rtlCol="0">
            <a:spAutoFit/>
          </a:bodyPr>
          <a:lstStyle/>
          <a:p>
            <a:r>
              <a:rPr lang="en-US" sz="1600" b="1" i="0">
                <a:solidFill>
                  <a:srgbClr val="171717"/>
                </a:solidFill>
                <a:effectLst/>
                <a:latin typeface="Gilroy"/>
              </a:rPr>
              <a:t>Data Lineage</a:t>
            </a:r>
          </a:p>
          <a:p>
            <a:pPr marL="285750" indent="-285750">
              <a:buFont typeface="Arial" panose="020B0604020202020204" pitchFamily="34" charset="0"/>
              <a:buChar char="•"/>
            </a:pPr>
            <a:r>
              <a:rPr lang="en-US" sz="1600">
                <a:solidFill>
                  <a:srgbClr val="3E4C59"/>
                </a:solidFill>
                <a:latin typeface="Avenir"/>
              </a:rPr>
              <a:t>Foundational capability for data discovery and consistency</a:t>
            </a:r>
          </a:p>
          <a:p>
            <a:pPr marL="285750" indent="-285750">
              <a:buFont typeface="Arial" panose="020B0604020202020204" pitchFamily="34" charset="0"/>
              <a:buChar char="•"/>
            </a:pPr>
            <a:r>
              <a:rPr lang="en-US" sz="1600" b="0" i="0">
                <a:solidFill>
                  <a:srgbClr val="3E4C59"/>
                </a:solidFill>
                <a:effectLst/>
                <a:latin typeface="Avenir"/>
              </a:rPr>
              <a:t>Provides end-to-end movement, transformation and usage of data</a:t>
            </a:r>
          </a:p>
          <a:p>
            <a:pPr marL="285750" indent="-285750">
              <a:buFont typeface="Arial" panose="020B0604020202020204" pitchFamily="34" charset="0"/>
              <a:buChar char="•"/>
            </a:pPr>
            <a:r>
              <a:rPr lang="en-US" sz="1600">
                <a:solidFill>
                  <a:srgbClr val="3E4C59"/>
                </a:solidFill>
                <a:latin typeface="Avenir"/>
              </a:rPr>
              <a:t>Enables the ability to visualize the source of a particular data point</a:t>
            </a:r>
          </a:p>
          <a:p>
            <a:pPr marL="285750" indent="-285750">
              <a:buFont typeface="Arial" panose="020B0604020202020204" pitchFamily="34" charset="0"/>
              <a:buChar char="•"/>
            </a:pPr>
            <a:r>
              <a:rPr lang="en-US" sz="1600">
                <a:solidFill>
                  <a:srgbClr val="3E4C59"/>
                </a:solidFill>
                <a:latin typeface="Avenir"/>
              </a:rPr>
              <a:t>Illustrates potential impact points for data changes/updates</a:t>
            </a:r>
          </a:p>
          <a:p>
            <a:pPr marL="573088" lvl="1" indent="-285750">
              <a:buFont typeface="Wingdings" panose="05000000000000000000" pitchFamily="2" charset="2"/>
              <a:buChar char="ü"/>
            </a:pPr>
            <a:r>
              <a:rPr lang="en-US" sz="1600" b="0" i="0">
                <a:solidFill>
                  <a:srgbClr val="3E4C59"/>
                </a:solidFill>
                <a:effectLst/>
                <a:latin typeface="Avenir"/>
              </a:rPr>
              <a:t>Highlights where CHS and other sensitive data has traversed</a:t>
            </a:r>
          </a:p>
          <a:p>
            <a:pPr marL="285750" indent="-285750">
              <a:buFont typeface="Arial" panose="020B0604020202020204" pitchFamily="34" charset="0"/>
              <a:buChar char="•"/>
            </a:pPr>
            <a:endParaRPr lang="en-US" sz="1600">
              <a:solidFill>
                <a:srgbClr val="3E4C59"/>
              </a:solidFill>
              <a:latin typeface="Avenir"/>
            </a:endParaRPr>
          </a:p>
        </p:txBody>
      </p:sp>
      <p:sp>
        <p:nvSpPr>
          <p:cNvPr id="9" name="Rectangle 8">
            <a:extLst>
              <a:ext uri="{FF2B5EF4-FFF2-40B4-BE49-F238E27FC236}">
                <a16:creationId xmlns:a16="http://schemas.microsoft.com/office/drawing/2014/main" id="{94A97885-3F5E-4ED3-BF76-9A28692A8125}"/>
              </a:ext>
            </a:extLst>
          </p:cNvPr>
          <p:cNvSpPr/>
          <p:nvPr/>
        </p:nvSpPr>
        <p:spPr>
          <a:xfrm>
            <a:off x="8732017" y="71040"/>
            <a:ext cx="3215473" cy="786288"/>
          </a:xfrm>
          <a:prstGeom prst="rect">
            <a:avLst/>
          </a:prstGeom>
          <a:solidFill>
            <a:srgbClr val="F3F9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1663340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FC7E5111-64FC-4482-B9DD-F9F592C4E4BF}"/>
              </a:ext>
            </a:extLst>
          </p:cNvPr>
          <p:cNvSpPr txBox="1"/>
          <p:nvPr/>
        </p:nvSpPr>
        <p:spPr>
          <a:xfrm>
            <a:off x="590763" y="236306"/>
            <a:ext cx="10356351" cy="3600986"/>
          </a:xfrm>
          <a:prstGeom prst="rect">
            <a:avLst/>
          </a:prstGeom>
          <a:noFill/>
        </p:spPr>
        <p:txBody>
          <a:bodyPr wrap="square">
            <a:spAutoFit/>
          </a:bodyPr>
          <a:lstStyle/>
          <a:p>
            <a:pPr marL="342900" marR="0">
              <a:spcBef>
                <a:spcPts val="0"/>
              </a:spcBef>
              <a:spcAft>
                <a:spcPts val="0"/>
              </a:spcAft>
            </a:pPr>
            <a:r>
              <a:rPr lang="en-US" sz="2800" b="1" dirty="0" err="1">
                <a:solidFill>
                  <a:srgbClr val="132E57"/>
                </a:solidFill>
                <a:latin typeface="Open Sans" panose="020B0606030504020204" pitchFamily="34" charset="0"/>
              </a:rPr>
              <a:t>as·set</a:t>
            </a:r>
            <a:endParaRPr lang="en-US" sz="2800" b="1" dirty="0">
              <a:solidFill>
                <a:srgbClr val="132E57"/>
              </a:solidFill>
              <a:latin typeface="Open Sans" panose="020B0606030504020204" pitchFamily="34" charset="0"/>
            </a:endParaRPr>
          </a:p>
          <a:p>
            <a:pPr marL="342900" marR="0">
              <a:spcBef>
                <a:spcPts val="0"/>
              </a:spcBef>
              <a:spcAft>
                <a:spcPts val="0"/>
              </a:spcAft>
            </a:pPr>
            <a:r>
              <a:rPr lang="en-US" sz="2800" b="1" dirty="0">
                <a:solidFill>
                  <a:srgbClr val="132E57"/>
                </a:solidFill>
                <a:latin typeface="Open Sans" panose="020B0606030504020204" pitchFamily="34" charset="0"/>
              </a:rPr>
              <a:t>/ˈ</a:t>
            </a:r>
            <a:r>
              <a:rPr lang="en-US" sz="2800" b="1" dirty="0" err="1">
                <a:solidFill>
                  <a:srgbClr val="132E57"/>
                </a:solidFill>
                <a:latin typeface="Open Sans" panose="020B0606030504020204" pitchFamily="34" charset="0"/>
              </a:rPr>
              <a:t>aset</a:t>
            </a:r>
            <a:r>
              <a:rPr lang="en-US" sz="2800" b="1" dirty="0">
                <a:solidFill>
                  <a:srgbClr val="132E57"/>
                </a:solidFill>
                <a:latin typeface="Open Sans" panose="020B0606030504020204" pitchFamily="34" charset="0"/>
              </a:rPr>
              <a:t>/	    </a:t>
            </a:r>
          </a:p>
          <a:p>
            <a:pPr marL="342900" marR="0">
              <a:spcBef>
                <a:spcPts val="0"/>
              </a:spcBef>
              <a:spcAft>
                <a:spcPts val="0"/>
              </a:spcAft>
            </a:pPr>
            <a:r>
              <a:rPr lang="en-US" sz="2800" b="1" dirty="0">
                <a:solidFill>
                  <a:srgbClr val="132E57"/>
                </a:solidFill>
                <a:latin typeface="Open Sans" panose="020B0606030504020204" pitchFamily="34" charset="0"/>
              </a:rPr>
              <a:t>		 </a:t>
            </a:r>
            <a:r>
              <a:rPr lang="en-US" i="1" dirty="0">
                <a:solidFill>
                  <a:srgbClr val="70757A"/>
                </a:solidFill>
                <a:effectLst/>
                <a:latin typeface="Roboto" panose="02000000000000000000" pitchFamily="2" charset="0"/>
              </a:rPr>
              <a:t>noun</a:t>
            </a:r>
            <a:endParaRPr lang="en-US" dirty="0">
              <a:solidFill>
                <a:srgbClr val="70757A"/>
              </a:solidFill>
              <a:effectLst/>
              <a:latin typeface="Roboto" panose="02000000000000000000" pitchFamily="2" charset="0"/>
            </a:endParaRPr>
          </a:p>
          <a:p>
            <a:pPr lvl="5" fontAlgn="ctr">
              <a:buFont typeface="+mj-lt"/>
              <a:buAutoNum type="arabicPeriod"/>
            </a:pPr>
            <a:r>
              <a:rPr lang="en-US" b="0" i="0" dirty="0">
                <a:solidFill>
                  <a:srgbClr val="202124"/>
                </a:solidFill>
                <a:effectLst/>
                <a:latin typeface="Roboto" panose="02000000000000000000" pitchFamily="2" charset="0"/>
              </a:rPr>
              <a:t>a useful or valuable thing, person, or quality.</a:t>
            </a:r>
            <a:br>
              <a:rPr lang="en-US" b="0" i="0" dirty="0">
                <a:solidFill>
                  <a:srgbClr val="202124"/>
                </a:solidFill>
                <a:effectLst/>
                <a:latin typeface="Roboto" panose="02000000000000000000" pitchFamily="2" charset="0"/>
              </a:rPr>
            </a:br>
            <a:r>
              <a:rPr lang="en-US" b="0" i="0" dirty="0">
                <a:solidFill>
                  <a:srgbClr val="70757A"/>
                </a:solidFill>
                <a:effectLst/>
                <a:latin typeface="Roboto" panose="02000000000000000000" pitchFamily="2" charset="0"/>
              </a:rPr>
              <a:t>"quick reflexes were his chief asset"</a:t>
            </a:r>
            <a:br>
              <a:rPr lang="en-US" b="0" i="0" dirty="0">
                <a:solidFill>
                  <a:srgbClr val="70757A"/>
                </a:solidFill>
                <a:effectLst/>
                <a:latin typeface="Roboto" panose="02000000000000000000" pitchFamily="2" charset="0"/>
              </a:rPr>
            </a:br>
            <a:endParaRPr lang="en-US" b="0" i="0" dirty="0">
              <a:solidFill>
                <a:srgbClr val="70757A"/>
              </a:solidFill>
              <a:effectLst/>
              <a:latin typeface="Roboto" panose="02000000000000000000" pitchFamily="2" charset="0"/>
            </a:endParaRPr>
          </a:p>
          <a:p>
            <a:pPr lvl="5" fontAlgn="ctr"/>
            <a:r>
              <a:rPr lang="en-US" b="1" i="0" dirty="0">
                <a:solidFill>
                  <a:srgbClr val="188038"/>
                </a:solidFill>
                <a:effectLst/>
                <a:latin typeface="Roboto" panose="02000000000000000000" pitchFamily="2" charset="0"/>
              </a:rPr>
              <a:t>Similar</a:t>
            </a:r>
            <a:r>
              <a:rPr lang="en-US" b="0" i="0" dirty="0">
                <a:solidFill>
                  <a:srgbClr val="188038"/>
                </a:solidFill>
                <a:effectLst/>
                <a:latin typeface="Roboto" panose="02000000000000000000" pitchFamily="2" charset="0"/>
              </a:rPr>
              <a:t>:</a:t>
            </a:r>
            <a:r>
              <a:rPr lang="en-US" b="0" i="0" dirty="0">
                <a:solidFill>
                  <a:srgbClr val="3C4043"/>
                </a:solidFill>
                <a:effectLst/>
                <a:latin typeface="Roboto" panose="02000000000000000000" pitchFamily="2" charset="0"/>
              </a:rPr>
              <a:t>   </a:t>
            </a:r>
            <a:r>
              <a:rPr lang="en-US" b="0" i="1" dirty="0">
                <a:solidFill>
                  <a:srgbClr val="3C4043"/>
                </a:solidFill>
                <a:effectLst/>
                <a:latin typeface="Roboto" panose="02000000000000000000" pitchFamily="2" charset="0"/>
              </a:rPr>
              <a:t>strength</a:t>
            </a:r>
            <a:r>
              <a:rPr lang="en-US" b="0" i="0" dirty="0">
                <a:solidFill>
                  <a:srgbClr val="3C4043"/>
                </a:solidFill>
                <a:effectLst/>
                <a:latin typeface="Roboto" panose="02000000000000000000" pitchFamily="2" charset="0"/>
              </a:rPr>
              <a:t>,</a:t>
            </a:r>
            <a:r>
              <a:rPr lang="en-US" b="0" dirty="0">
                <a:solidFill>
                  <a:srgbClr val="3C4043"/>
                </a:solidFill>
                <a:effectLst/>
                <a:latin typeface="Roboto" panose="02000000000000000000" pitchFamily="2" charset="0"/>
              </a:rPr>
              <a:t> advantage, bene</a:t>
            </a:r>
            <a:r>
              <a:rPr lang="en-US" b="0" i="0" dirty="0">
                <a:solidFill>
                  <a:srgbClr val="3C4043"/>
                </a:solidFill>
                <a:effectLst/>
                <a:latin typeface="Roboto" panose="02000000000000000000" pitchFamily="2" charset="0"/>
              </a:rPr>
              <a:t>fit, strong point, forte, talent, strong suit, blessing</a:t>
            </a:r>
            <a:endParaRPr lang="en-US" dirty="0">
              <a:solidFill>
                <a:srgbClr val="202124"/>
              </a:solidFill>
              <a:latin typeface="Roboto" panose="02000000000000000000" pitchFamily="2" charset="0"/>
            </a:endParaRPr>
          </a:p>
          <a:p>
            <a:pPr lvl="7" fontAlgn="ctr"/>
            <a:r>
              <a:rPr lang="en-US" dirty="0">
                <a:solidFill>
                  <a:srgbClr val="3C4043"/>
                </a:solidFill>
                <a:effectLst/>
                <a:latin typeface="Roboto" panose="02000000000000000000" pitchFamily="2" charset="0"/>
              </a:rPr>
              <a:t>Attractive feature: selling point, resource, value</a:t>
            </a:r>
          </a:p>
          <a:p>
            <a:pPr lvl="5" fontAlgn="ctr"/>
            <a:r>
              <a:rPr lang="en-US" b="1" dirty="0">
                <a:solidFill>
                  <a:srgbClr val="D93025"/>
                </a:solidFill>
                <a:effectLst/>
                <a:latin typeface="Roboto" panose="02000000000000000000" pitchFamily="2" charset="0"/>
              </a:rPr>
              <a:t>Opposite: </a:t>
            </a:r>
            <a:r>
              <a:rPr lang="en-US" i="1" dirty="0">
                <a:solidFill>
                  <a:srgbClr val="3C4043"/>
                </a:solidFill>
                <a:effectLst/>
                <a:latin typeface="Roboto" panose="02000000000000000000" pitchFamily="2" charset="0"/>
              </a:rPr>
              <a:t>liability</a:t>
            </a:r>
            <a:r>
              <a:rPr lang="en-US" dirty="0">
                <a:solidFill>
                  <a:srgbClr val="3C4043"/>
                </a:solidFill>
                <a:effectLst/>
                <a:latin typeface="Roboto" panose="02000000000000000000" pitchFamily="2" charset="0"/>
              </a:rPr>
              <a:t>, impediment, hindrance</a:t>
            </a:r>
            <a:endParaRPr lang="en-US" dirty="0">
              <a:effectLst/>
              <a:latin typeface="Roboto" panose="02000000000000000000" pitchFamily="2" charset="0"/>
            </a:endParaRPr>
          </a:p>
          <a:p>
            <a:pPr lvl="5" fontAlgn="ctr">
              <a:buFont typeface="+mj-lt"/>
              <a:buAutoNum type="arabicPeriod"/>
            </a:pPr>
            <a:endParaRPr lang="en-US" b="0" i="0" dirty="0">
              <a:solidFill>
                <a:srgbClr val="70757A"/>
              </a:solidFill>
              <a:effectLst/>
              <a:latin typeface="Roboto" panose="02000000000000000000" pitchFamily="2" charset="0"/>
            </a:endParaRPr>
          </a:p>
        </p:txBody>
      </p:sp>
    </p:spTree>
    <p:extLst>
      <p:ext uri="{BB962C8B-B14F-4D97-AF65-F5344CB8AC3E}">
        <p14:creationId xmlns:p14="http://schemas.microsoft.com/office/powerpoint/2010/main" val="26572942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09F7EE-EC4E-4CB5-BF21-29E3B8BDD4FF}"/>
              </a:ext>
            </a:extLst>
          </p:cNvPr>
          <p:cNvSpPr txBox="1">
            <a:spLocks/>
          </p:cNvSpPr>
          <p:nvPr/>
        </p:nvSpPr>
        <p:spPr>
          <a:xfrm>
            <a:off x="232417" y="143840"/>
            <a:ext cx="11219600" cy="314028"/>
          </a:xfrm>
          <a:prstGeom prst="rect">
            <a:avLst/>
          </a:prstGeom>
        </p:spPr>
        <p:txBody>
          <a:bodyPr/>
          <a:lstStyle>
            <a:lvl1pPr algn="l" defTabSz="913526" rtl="0" fontAlgn="base">
              <a:spcBef>
                <a:spcPct val="0"/>
              </a:spcBef>
              <a:spcAft>
                <a:spcPct val="0"/>
              </a:spcAft>
              <a:defRPr sz="2041" b="1">
                <a:solidFill>
                  <a:schemeClr val="tx2"/>
                </a:solidFill>
                <a:latin typeface="+mn-lt"/>
                <a:ea typeface="+mj-ea"/>
                <a:cs typeface="+mj-cs"/>
              </a:defRPr>
            </a:lvl1pPr>
            <a:lvl2pPr algn="l" defTabSz="913526" rtl="0" fontAlgn="base">
              <a:spcBef>
                <a:spcPct val="0"/>
              </a:spcBef>
              <a:spcAft>
                <a:spcPct val="0"/>
              </a:spcAft>
              <a:defRPr sz="1939" b="1">
                <a:solidFill>
                  <a:schemeClr val="tx2"/>
                </a:solidFill>
                <a:latin typeface="Arial" charset="0"/>
              </a:defRPr>
            </a:lvl2pPr>
            <a:lvl3pPr algn="l" defTabSz="913526" rtl="0" fontAlgn="base">
              <a:spcBef>
                <a:spcPct val="0"/>
              </a:spcBef>
              <a:spcAft>
                <a:spcPct val="0"/>
              </a:spcAft>
              <a:defRPr sz="1939" b="1">
                <a:solidFill>
                  <a:schemeClr val="tx2"/>
                </a:solidFill>
                <a:latin typeface="Arial" charset="0"/>
              </a:defRPr>
            </a:lvl3pPr>
            <a:lvl4pPr algn="l" defTabSz="913526" rtl="0" fontAlgn="base">
              <a:spcBef>
                <a:spcPct val="0"/>
              </a:spcBef>
              <a:spcAft>
                <a:spcPct val="0"/>
              </a:spcAft>
              <a:defRPr sz="1939" b="1">
                <a:solidFill>
                  <a:schemeClr val="tx2"/>
                </a:solidFill>
                <a:latin typeface="Arial" charset="0"/>
              </a:defRPr>
            </a:lvl4pPr>
            <a:lvl5pPr algn="l" defTabSz="913526" rtl="0" fontAlgn="base">
              <a:spcBef>
                <a:spcPct val="0"/>
              </a:spcBef>
              <a:spcAft>
                <a:spcPct val="0"/>
              </a:spcAft>
              <a:defRPr sz="1939" b="1">
                <a:solidFill>
                  <a:schemeClr val="tx2"/>
                </a:solidFill>
                <a:latin typeface="Arial" charset="0"/>
              </a:defRPr>
            </a:lvl5pPr>
            <a:lvl6pPr marL="466481" algn="l" defTabSz="913526" rtl="0" fontAlgn="base">
              <a:spcBef>
                <a:spcPct val="0"/>
              </a:spcBef>
              <a:spcAft>
                <a:spcPct val="0"/>
              </a:spcAft>
              <a:defRPr sz="1939" b="1">
                <a:solidFill>
                  <a:schemeClr val="tx2"/>
                </a:solidFill>
                <a:latin typeface="Arial" charset="0"/>
              </a:defRPr>
            </a:lvl6pPr>
            <a:lvl7pPr marL="932962" algn="l" defTabSz="913526" rtl="0" fontAlgn="base">
              <a:spcBef>
                <a:spcPct val="0"/>
              </a:spcBef>
              <a:spcAft>
                <a:spcPct val="0"/>
              </a:spcAft>
              <a:defRPr sz="1939" b="1">
                <a:solidFill>
                  <a:schemeClr val="tx2"/>
                </a:solidFill>
                <a:latin typeface="Arial" charset="0"/>
              </a:defRPr>
            </a:lvl7pPr>
            <a:lvl8pPr marL="1399443" algn="l" defTabSz="913526" rtl="0" fontAlgn="base">
              <a:spcBef>
                <a:spcPct val="0"/>
              </a:spcBef>
              <a:spcAft>
                <a:spcPct val="0"/>
              </a:spcAft>
              <a:defRPr sz="1939" b="1">
                <a:solidFill>
                  <a:schemeClr val="tx2"/>
                </a:solidFill>
                <a:latin typeface="Arial" charset="0"/>
              </a:defRPr>
            </a:lvl8pPr>
            <a:lvl9pPr marL="1865925" algn="l" defTabSz="913526" rtl="0" fontAlgn="base">
              <a:spcBef>
                <a:spcPct val="0"/>
              </a:spcBef>
              <a:spcAft>
                <a:spcPct val="0"/>
              </a:spcAft>
              <a:defRPr sz="1939" b="1">
                <a:solidFill>
                  <a:schemeClr val="tx2"/>
                </a:solidFill>
                <a:latin typeface="Arial" charset="0"/>
              </a:defRPr>
            </a:lvl9pPr>
          </a:lstStyle>
          <a:p>
            <a:endParaRPr lang="en-US" kern="0" dirty="0"/>
          </a:p>
        </p:txBody>
      </p:sp>
      <p:grpSp>
        <p:nvGrpSpPr>
          <p:cNvPr id="3" name="Group 2">
            <a:extLst>
              <a:ext uri="{FF2B5EF4-FFF2-40B4-BE49-F238E27FC236}">
                <a16:creationId xmlns:a16="http://schemas.microsoft.com/office/drawing/2014/main" id="{07431EBC-87C0-4DC0-A4BE-C6326580F005}"/>
              </a:ext>
            </a:extLst>
          </p:cNvPr>
          <p:cNvGrpSpPr/>
          <p:nvPr/>
        </p:nvGrpSpPr>
        <p:grpSpPr>
          <a:xfrm>
            <a:off x="3592251" y="1428634"/>
            <a:ext cx="5098826" cy="4870744"/>
            <a:chOff x="4038600" y="1066800"/>
            <a:chExt cx="4718304" cy="4718304"/>
          </a:xfrm>
          <a:solidFill>
            <a:srgbClr val="144260"/>
          </a:solidFill>
        </p:grpSpPr>
        <p:sp>
          <p:nvSpPr>
            <p:cNvPr id="4" name="Freeform 5">
              <a:hlinkClick r:id="" action="ppaction://noaction"/>
              <a:extLst>
                <a:ext uri="{FF2B5EF4-FFF2-40B4-BE49-F238E27FC236}">
                  <a16:creationId xmlns:a16="http://schemas.microsoft.com/office/drawing/2014/main" id="{F271CF57-7CB8-40E7-8314-F2508F133843}"/>
                </a:ext>
              </a:extLst>
            </p:cNvPr>
            <p:cNvSpPr>
              <a:spLocks/>
            </p:cNvSpPr>
            <p:nvPr/>
          </p:nvSpPr>
          <p:spPr bwMode="auto">
            <a:xfrm flipH="1" flipV="1">
              <a:off x="4159409" y="3527165"/>
              <a:ext cx="2137897" cy="2249787"/>
            </a:xfrm>
            <a:custGeom>
              <a:avLst/>
              <a:gdLst>
                <a:gd name="T0" fmla="*/ 0 w 1575"/>
                <a:gd name="T1" fmla="*/ 2 h 1656"/>
                <a:gd name="T2" fmla="*/ 2 w 1575"/>
                <a:gd name="T3" fmla="*/ 0 h 1656"/>
                <a:gd name="T4" fmla="*/ 81 w 1575"/>
                <a:gd name="T5" fmla="*/ 5 h 1656"/>
                <a:gd name="T6" fmla="*/ 232 w 1575"/>
                <a:gd name="T7" fmla="*/ 26 h 1656"/>
                <a:gd name="T8" fmla="*/ 374 w 1575"/>
                <a:gd name="T9" fmla="*/ 56 h 1656"/>
                <a:gd name="T10" fmla="*/ 508 w 1575"/>
                <a:gd name="T11" fmla="*/ 98 h 1656"/>
                <a:gd name="T12" fmla="*/ 635 w 1575"/>
                <a:gd name="T13" fmla="*/ 147 h 1656"/>
                <a:gd name="T14" fmla="*/ 752 w 1575"/>
                <a:gd name="T15" fmla="*/ 204 h 1656"/>
                <a:gd name="T16" fmla="*/ 860 w 1575"/>
                <a:gd name="T17" fmla="*/ 268 h 1656"/>
                <a:gd name="T18" fmla="*/ 962 w 1575"/>
                <a:gd name="T19" fmla="*/ 336 h 1656"/>
                <a:gd name="T20" fmla="*/ 1010 w 1575"/>
                <a:gd name="T21" fmla="*/ 374 h 1656"/>
                <a:gd name="T22" fmla="*/ 1102 w 1575"/>
                <a:gd name="T23" fmla="*/ 455 h 1656"/>
                <a:gd name="T24" fmla="*/ 1189 w 1575"/>
                <a:gd name="T25" fmla="*/ 540 h 1656"/>
                <a:gd name="T26" fmla="*/ 1271 w 1575"/>
                <a:gd name="T27" fmla="*/ 633 h 1656"/>
                <a:gd name="T28" fmla="*/ 1344 w 1575"/>
                <a:gd name="T29" fmla="*/ 731 h 1656"/>
                <a:gd name="T30" fmla="*/ 1412 w 1575"/>
                <a:gd name="T31" fmla="*/ 835 h 1656"/>
                <a:gd name="T32" fmla="*/ 1475 w 1575"/>
                <a:gd name="T33" fmla="*/ 947 h 1656"/>
                <a:gd name="T34" fmla="*/ 1528 w 1575"/>
                <a:gd name="T35" fmla="*/ 1062 h 1656"/>
                <a:gd name="T36" fmla="*/ 1575 w 1575"/>
                <a:gd name="T37" fmla="*/ 1185 h 1656"/>
                <a:gd name="T38" fmla="*/ 1515 w 1575"/>
                <a:gd name="T39" fmla="*/ 1304 h 1656"/>
                <a:gd name="T40" fmla="*/ 1390 w 1575"/>
                <a:gd name="T41" fmla="*/ 1537 h 1656"/>
                <a:gd name="T42" fmla="*/ 1327 w 1575"/>
                <a:gd name="T43" fmla="*/ 1656 h 1656"/>
                <a:gd name="T44" fmla="*/ 1095 w 1575"/>
                <a:gd name="T45" fmla="*/ 1537 h 1656"/>
                <a:gd name="T46" fmla="*/ 877 w 1575"/>
                <a:gd name="T47" fmla="*/ 1425 h 1656"/>
                <a:gd name="T48" fmla="*/ 864 w 1575"/>
                <a:gd name="T49" fmla="*/ 1389 h 1656"/>
                <a:gd name="T50" fmla="*/ 838 w 1575"/>
                <a:gd name="T51" fmla="*/ 1323 h 1656"/>
                <a:gd name="T52" fmla="*/ 805 w 1575"/>
                <a:gd name="T53" fmla="*/ 1259 h 1656"/>
                <a:gd name="T54" fmla="*/ 771 w 1575"/>
                <a:gd name="T55" fmla="*/ 1198 h 1656"/>
                <a:gd name="T56" fmla="*/ 732 w 1575"/>
                <a:gd name="T57" fmla="*/ 1140 h 1656"/>
                <a:gd name="T58" fmla="*/ 688 w 1575"/>
                <a:gd name="T59" fmla="*/ 1085 h 1656"/>
                <a:gd name="T60" fmla="*/ 641 w 1575"/>
                <a:gd name="T61" fmla="*/ 1032 h 1656"/>
                <a:gd name="T62" fmla="*/ 590 w 1575"/>
                <a:gd name="T63" fmla="*/ 985 h 1656"/>
                <a:gd name="T64" fmla="*/ 535 w 1575"/>
                <a:gd name="T65" fmla="*/ 939 h 1656"/>
                <a:gd name="T66" fmla="*/ 478 w 1575"/>
                <a:gd name="T67" fmla="*/ 898 h 1656"/>
                <a:gd name="T68" fmla="*/ 416 w 1575"/>
                <a:gd name="T69" fmla="*/ 862 h 1656"/>
                <a:gd name="T70" fmla="*/ 350 w 1575"/>
                <a:gd name="T71" fmla="*/ 828 h 1656"/>
                <a:gd name="T72" fmla="*/ 282 w 1575"/>
                <a:gd name="T73" fmla="*/ 799 h 1656"/>
                <a:gd name="T74" fmla="*/ 210 w 1575"/>
                <a:gd name="T75" fmla="*/ 777 h 1656"/>
                <a:gd name="T76" fmla="*/ 134 w 1575"/>
                <a:gd name="T77" fmla="*/ 756 h 1656"/>
                <a:gd name="T78" fmla="*/ 55 w 1575"/>
                <a:gd name="T79" fmla="*/ 743 h 1656"/>
                <a:gd name="T80" fmla="*/ 15 w 1575"/>
                <a:gd name="T81" fmla="*/ 737 h 1656"/>
                <a:gd name="T82" fmla="*/ 13 w 1575"/>
                <a:gd name="T83" fmla="*/ 733 h 1656"/>
                <a:gd name="T84" fmla="*/ 26 w 1575"/>
                <a:gd name="T85" fmla="*/ 716 h 1656"/>
                <a:gd name="T86" fmla="*/ 111 w 1575"/>
                <a:gd name="T87" fmla="*/ 633 h 1656"/>
                <a:gd name="T88" fmla="*/ 285 w 1575"/>
                <a:gd name="T89" fmla="*/ 467 h 1656"/>
                <a:gd name="T90" fmla="*/ 367 w 1575"/>
                <a:gd name="T91" fmla="*/ 382 h 1656"/>
                <a:gd name="T92" fmla="*/ 185 w 1575"/>
                <a:gd name="T93" fmla="*/ 191 h 1656"/>
                <a:gd name="T94" fmla="*/ 0 w 1575"/>
                <a:gd name="T95" fmla="*/ 2 h 1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75" h="1656">
                  <a:moveTo>
                    <a:pt x="0" y="2"/>
                  </a:moveTo>
                  <a:lnTo>
                    <a:pt x="0" y="2"/>
                  </a:lnTo>
                  <a:lnTo>
                    <a:pt x="0" y="0"/>
                  </a:lnTo>
                  <a:lnTo>
                    <a:pt x="2" y="0"/>
                  </a:lnTo>
                  <a:lnTo>
                    <a:pt x="2" y="0"/>
                  </a:lnTo>
                  <a:lnTo>
                    <a:pt x="81" y="5"/>
                  </a:lnTo>
                  <a:lnTo>
                    <a:pt x="159" y="15"/>
                  </a:lnTo>
                  <a:lnTo>
                    <a:pt x="232" y="26"/>
                  </a:lnTo>
                  <a:lnTo>
                    <a:pt x="304" y="41"/>
                  </a:lnTo>
                  <a:lnTo>
                    <a:pt x="374" y="56"/>
                  </a:lnTo>
                  <a:lnTo>
                    <a:pt x="442" y="77"/>
                  </a:lnTo>
                  <a:lnTo>
                    <a:pt x="508" y="98"/>
                  </a:lnTo>
                  <a:lnTo>
                    <a:pt x="573" y="121"/>
                  </a:lnTo>
                  <a:lnTo>
                    <a:pt x="635" y="147"/>
                  </a:lnTo>
                  <a:lnTo>
                    <a:pt x="694" y="174"/>
                  </a:lnTo>
                  <a:lnTo>
                    <a:pt x="752" y="204"/>
                  </a:lnTo>
                  <a:lnTo>
                    <a:pt x="807" y="234"/>
                  </a:lnTo>
                  <a:lnTo>
                    <a:pt x="860" y="268"/>
                  </a:lnTo>
                  <a:lnTo>
                    <a:pt x="913" y="302"/>
                  </a:lnTo>
                  <a:lnTo>
                    <a:pt x="962" y="336"/>
                  </a:lnTo>
                  <a:lnTo>
                    <a:pt x="1010" y="374"/>
                  </a:lnTo>
                  <a:lnTo>
                    <a:pt x="1010" y="374"/>
                  </a:lnTo>
                  <a:lnTo>
                    <a:pt x="1057" y="414"/>
                  </a:lnTo>
                  <a:lnTo>
                    <a:pt x="1102" y="455"/>
                  </a:lnTo>
                  <a:lnTo>
                    <a:pt x="1146" y="497"/>
                  </a:lnTo>
                  <a:lnTo>
                    <a:pt x="1189" y="540"/>
                  </a:lnTo>
                  <a:lnTo>
                    <a:pt x="1231" y="586"/>
                  </a:lnTo>
                  <a:lnTo>
                    <a:pt x="1271" y="633"/>
                  </a:lnTo>
                  <a:lnTo>
                    <a:pt x="1308" y="682"/>
                  </a:lnTo>
                  <a:lnTo>
                    <a:pt x="1344" y="731"/>
                  </a:lnTo>
                  <a:lnTo>
                    <a:pt x="1380" y="782"/>
                  </a:lnTo>
                  <a:lnTo>
                    <a:pt x="1412" y="835"/>
                  </a:lnTo>
                  <a:lnTo>
                    <a:pt x="1445" y="890"/>
                  </a:lnTo>
                  <a:lnTo>
                    <a:pt x="1475" y="947"/>
                  </a:lnTo>
                  <a:lnTo>
                    <a:pt x="1503" y="1004"/>
                  </a:lnTo>
                  <a:lnTo>
                    <a:pt x="1528" y="1062"/>
                  </a:lnTo>
                  <a:lnTo>
                    <a:pt x="1552" y="1123"/>
                  </a:lnTo>
                  <a:lnTo>
                    <a:pt x="1575" y="1185"/>
                  </a:lnTo>
                  <a:lnTo>
                    <a:pt x="1575" y="1185"/>
                  </a:lnTo>
                  <a:lnTo>
                    <a:pt x="1515" y="1304"/>
                  </a:lnTo>
                  <a:lnTo>
                    <a:pt x="1452" y="1421"/>
                  </a:lnTo>
                  <a:lnTo>
                    <a:pt x="1390" y="1537"/>
                  </a:lnTo>
                  <a:lnTo>
                    <a:pt x="1327" y="1656"/>
                  </a:lnTo>
                  <a:lnTo>
                    <a:pt x="1327" y="1656"/>
                  </a:lnTo>
                  <a:lnTo>
                    <a:pt x="1208" y="1597"/>
                  </a:lnTo>
                  <a:lnTo>
                    <a:pt x="1095" y="1537"/>
                  </a:lnTo>
                  <a:lnTo>
                    <a:pt x="983" y="1478"/>
                  </a:lnTo>
                  <a:lnTo>
                    <a:pt x="877" y="1425"/>
                  </a:lnTo>
                  <a:lnTo>
                    <a:pt x="877" y="1425"/>
                  </a:lnTo>
                  <a:lnTo>
                    <a:pt x="864" y="1389"/>
                  </a:lnTo>
                  <a:lnTo>
                    <a:pt x="851" y="1357"/>
                  </a:lnTo>
                  <a:lnTo>
                    <a:pt x="838" y="1323"/>
                  </a:lnTo>
                  <a:lnTo>
                    <a:pt x="822" y="1291"/>
                  </a:lnTo>
                  <a:lnTo>
                    <a:pt x="805" y="1259"/>
                  </a:lnTo>
                  <a:lnTo>
                    <a:pt x="788" y="1229"/>
                  </a:lnTo>
                  <a:lnTo>
                    <a:pt x="771" y="1198"/>
                  </a:lnTo>
                  <a:lnTo>
                    <a:pt x="751" y="1168"/>
                  </a:lnTo>
                  <a:lnTo>
                    <a:pt x="732" y="1140"/>
                  </a:lnTo>
                  <a:lnTo>
                    <a:pt x="711" y="1111"/>
                  </a:lnTo>
                  <a:lnTo>
                    <a:pt x="688" y="1085"/>
                  </a:lnTo>
                  <a:lnTo>
                    <a:pt x="665" y="1058"/>
                  </a:lnTo>
                  <a:lnTo>
                    <a:pt x="641" y="1032"/>
                  </a:lnTo>
                  <a:lnTo>
                    <a:pt x="616" y="1007"/>
                  </a:lnTo>
                  <a:lnTo>
                    <a:pt x="590" y="985"/>
                  </a:lnTo>
                  <a:lnTo>
                    <a:pt x="563" y="962"/>
                  </a:lnTo>
                  <a:lnTo>
                    <a:pt x="535" y="939"/>
                  </a:lnTo>
                  <a:lnTo>
                    <a:pt x="507" y="918"/>
                  </a:lnTo>
                  <a:lnTo>
                    <a:pt x="478" y="898"/>
                  </a:lnTo>
                  <a:lnTo>
                    <a:pt x="446" y="879"/>
                  </a:lnTo>
                  <a:lnTo>
                    <a:pt x="416" y="862"/>
                  </a:lnTo>
                  <a:lnTo>
                    <a:pt x="384" y="845"/>
                  </a:lnTo>
                  <a:lnTo>
                    <a:pt x="350" y="828"/>
                  </a:lnTo>
                  <a:lnTo>
                    <a:pt x="316" y="815"/>
                  </a:lnTo>
                  <a:lnTo>
                    <a:pt x="282" y="799"/>
                  </a:lnTo>
                  <a:lnTo>
                    <a:pt x="246" y="788"/>
                  </a:lnTo>
                  <a:lnTo>
                    <a:pt x="210" y="777"/>
                  </a:lnTo>
                  <a:lnTo>
                    <a:pt x="172" y="765"/>
                  </a:lnTo>
                  <a:lnTo>
                    <a:pt x="134" y="756"/>
                  </a:lnTo>
                  <a:lnTo>
                    <a:pt x="94" y="748"/>
                  </a:lnTo>
                  <a:lnTo>
                    <a:pt x="55" y="743"/>
                  </a:lnTo>
                  <a:lnTo>
                    <a:pt x="15" y="737"/>
                  </a:lnTo>
                  <a:lnTo>
                    <a:pt x="15" y="737"/>
                  </a:lnTo>
                  <a:lnTo>
                    <a:pt x="13" y="735"/>
                  </a:lnTo>
                  <a:lnTo>
                    <a:pt x="13" y="733"/>
                  </a:lnTo>
                  <a:lnTo>
                    <a:pt x="15" y="728"/>
                  </a:lnTo>
                  <a:lnTo>
                    <a:pt x="26" y="716"/>
                  </a:lnTo>
                  <a:lnTo>
                    <a:pt x="26" y="716"/>
                  </a:lnTo>
                  <a:lnTo>
                    <a:pt x="111" y="633"/>
                  </a:lnTo>
                  <a:lnTo>
                    <a:pt x="198" y="550"/>
                  </a:lnTo>
                  <a:lnTo>
                    <a:pt x="285" y="467"/>
                  </a:lnTo>
                  <a:lnTo>
                    <a:pt x="327" y="423"/>
                  </a:lnTo>
                  <a:lnTo>
                    <a:pt x="367" y="382"/>
                  </a:lnTo>
                  <a:lnTo>
                    <a:pt x="367" y="382"/>
                  </a:lnTo>
                  <a:lnTo>
                    <a:pt x="185" y="191"/>
                  </a:lnTo>
                  <a:lnTo>
                    <a:pt x="92" y="96"/>
                  </a:lnTo>
                  <a:lnTo>
                    <a:pt x="0" y="2"/>
                  </a:lnTo>
                  <a:lnTo>
                    <a:pt x="0" y="2"/>
                  </a:lnTo>
                  <a:close/>
                </a:path>
              </a:pathLst>
            </a:custGeom>
            <a:grpFill/>
            <a:ln w="25400">
              <a:noFill/>
            </a:ln>
            <a:scene3d>
              <a:camera prst="orthographicFront">
                <a:rot lat="0" lon="0" rev="0"/>
              </a:camera>
              <a:lightRig rig="threePt" dir="t"/>
            </a:scene3d>
            <a:sp3d>
              <a:bevelT/>
              <a:bevelB/>
            </a:sp3d>
          </p:spPr>
          <p:txBody>
            <a:bodyPr vert="horz" wrap="square" lIns="68580" tIns="34290" rIns="68580" bIns="34290" numCol="1" anchor="t" anchorCtr="0" compatLnSpc="1">
              <a:prstTxWarp prst="textNoShape">
                <a:avLst/>
              </a:prstTxWarp>
            </a:bodyPr>
            <a:lstStyle/>
            <a:p>
              <a:pPr>
                <a:defRPr/>
              </a:pPr>
              <a:endParaRPr lang="en-US" sz="1200" kern="0">
                <a:solidFill>
                  <a:schemeClr val="tx2"/>
                </a:solidFill>
              </a:endParaRPr>
            </a:p>
          </p:txBody>
        </p:sp>
        <p:sp>
          <p:nvSpPr>
            <p:cNvPr id="5" name="Freeform 6">
              <a:hlinkClick r:id="" action="ppaction://noaction"/>
              <a:extLst>
                <a:ext uri="{FF2B5EF4-FFF2-40B4-BE49-F238E27FC236}">
                  <a16:creationId xmlns:a16="http://schemas.microsoft.com/office/drawing/2014/main" id="{81A0080B-9B1F-4D5F-8272-43411F31AEA2}"/>
                </a:ext>
              </a:extLst>
            </p:cNvPr>
            <p:cNvSpPr>
              <a:spLocks/>
            </p:cNvSpPr>
            <p:nvPr/>
          </p:nvSpPr>
          <p:spPr bwMode="auto">
            <a:xfrm flipH="1" flipV="1">
              <a:off x="7288203" y="1588490"/>
              <a:ext cx="1468701" cy="2866577"/>
            </a:xfrm>
            <a:custGeom>
              <a:avLst/>
              <a:gdLst>
                <a:gd name="T0" fmla="*/ 0 w 1082"/>
                <a:gd name="T1" fmla="*/ 815 h 2110"/>
                <a:gd name="T2" fmla="*/ 9 w 1082"/>
                <a:gd name="T3" fmla="*/ 923 h 2110"/>
                <a:gd name="T4" fmla="*/ 25 w 1082"/>
                <a:gd name="T5" fmla="*/ 1027 h 2110"/>
                <a:gd name="T6" fmla="*/ 43 w 1082"/>
                <a:gd name="T7" fmla="*/ 1125 h 2110"/>
                <a:gd name="T8" fmla="*/ 66 w 1082"/>
                <a:gd name="T9" fmla="*/ 1220 h 2110"/>
                <a:gd name="T10" fmla="*/ 95 w 1082"/>
                <a:gd name="T11" fmla="*/ 1312 h 2110"/>
                <a:gd name="T12" fmla="*/ 125 w 1082"/>
                <a:gd name="T13" fmla="*/ 1399 h 2110"/>
                <a:gd name="T14" fmla="*/ 161 w 1082"/>
                <a:gd name="T15" fmla="*/ 1484 h 2110"/>
                <a:gd name="T16" fmla="*/ 199 w 1082"/>
                <a:gd name="T17" fmla="*/ 1564 h 2110"/>
                <a:gd name="T18" fmla="*/ 240 w 1082"/>
                <a:gd name="T19" fmla="*/ 1641 h 2110"/>
                <a:gd name="T20" fmla="*/ 286 w 1082"/>
                <a:gd name="T21" fmla="*/ 1715 h 2110"/>
                <a:gd name="T22" fmla="*/ 388 w 1082"/>
                <a:gd name="T23" fmla="*/ 1853 h 2110"/>
                <a:gd name="T24" fmla="*/ 499 w 1082"/>
                <a:gd name="T25" fmla="*/ 1978 h 2110"/>
                <a:gd name="T26" fmla="*/ 624 w 1082"/>
                <a:gd name="T27" fmla="*/ 2091 h 2110"/>
                <a:gd name="T28" fmla="*/ 641 w 1082"/>
                <a:gd name="T29" fmla="*/ 2105 h 2110"/>
                <a:gd name="T30" fmla="*/ 654 w 1082"/>
                <a:gd name="T31" fmla="*/ 2110 h 2110"/>
                <a:gd name="T32" fmla="*/ 635 w 1082"/>
                <a:gd name="T33" fmla="*/ 1980 h 2110"/>
                <a:gd name="T34" fmla="*/ 581 w 1082"/>
                <a:gd name="T35" fmla="*/ 1594 h 2110"/>
                <a:gd name="T36" fmla="*/ 705 w 1082"/>
                <a:gd name="T37" fmla="*/ 1573 h 2110"/>
                <a:gd name="T38" fmla="*/ 1082 w 1082"/>
                <a:gd name="T39" fmla="*/ 1518 h 2110"/>
                <a:gd name="T40" fmla="*/ 1076 w 1082"/>
                <a:gd name="T41" fmla="*/ 1511 h 2110"/>
                <a:gd name="T42" fmla="*/ 1070 w 1082"/>
                <a:gd name="T43" fmla="*/ 1505 h 2110"/>
                <a:gd name="T44" fmla="*/ 1004 w 1082"/>
                <a:gd name="T45" fmla="*/ 1437 h 2110"/>
                <a:gd name="T46" fmla="*/ 944 w 1082"/>
                <a:gd name="T47" fmla="*/ 1365 h 2110"/>
                <a:gd name="T48" fmla="*/ 889 w 1082"/>
                <a:gd name="T49" fmla="*/ 1286 h 2110"/>
                <a:gd name="T50" fmla="*/ 842 w 1082"/>
                <a:gd name="T51" fmla="*/ 1197 h 2110"/>
                <a:gd name="T52" fmla="*/ 821 w 1082"/>
                <a:gd name="T53" fmla="*/ 1155 h 2110"/>
                <a:gd name="T54" fmla="*/ 789 w 1082"/>
                <a:gd name="T55" fmla="*/ 1070 h 2110"/>
                <a:gd name="T56" fmla="*/ 764 w 1082"/>
                <a:gd name="T57" fmla="*/ 980 h 2110"/>
                <a:gd name="T58" fmla="*/ 747 w 1082"/>
                <a:gd name="T59" fmla="*/ 885 h 2110"/>
                <a:gd name="T60" fmla="*/ 738 w 1082"/>
                <a:gd name="T61" fmla="*/ 789 h 2110"/>
                <a:gd name="T62" fmla="*/ 739 w 1082"/>
                <a:gd name="T63" fmla="*/ 692 h 2110"/>
                <a:gd name="T64" fmla="*/ 751 w 1082"/>
                <a:gd name="T65" fmla="*/ 596 h 2110"/>
                <a:gd name="T66" fmla="*/ 773 w 1082"/>
                <a:gd name="T67" fmla="*/ 501 h 2110"/>
                <a:gd name="T68" fmla="*/ 789 w 1082"/>
                <a:gd name="T69" fmla="*/ 454 h 2110"/>
                <a:gd name="T70" fmla="*/ 732 w 1082"/>
                <a:gd name="T71" fmla="*/ 339 h 2110"/>
                <a:gd name="T72" fmla="*/ 713 w 1082"/>
                <a:gd name="T73" fmla="*/ 295 h 2110"/>
                <a:gd name="T74" fmla="*/ 649 w 1082"/>
                <a:gd name="T75" fmla="*/ 172 h 2110"/>
                <a:gd name="T76" fmla="*/ 582 w 1082"/>
                <a:gd name="T77" fmla="*/ 44 h 2110"/>
                <a:gd name="T78" fmla="*/ 560 w 1082"/>
                <a:gd name="T79" fmla="*/ 0 h 2110"/>
                <a:gd name="T80" fmla="*/ 320 w 1082"/>
                <a:gd name="T81" fmla="*/ 118 h 2110"/>
                <a:gd name="T82" fmla="*/ 85 w 1082"/>
                <a:gd name="T83" fmla="*/ 231 h 2110"/>
                <a:gd name="T84" fmla="*/ 68 w 1082"/>
                <a:gd name="T85" fmla="*/ 286 h 2110"/>
                <a:gd name="T86" fmla="*/ 42 w 1082"/>
                <a:gd name="T87" fmla="*/ 397 h 2110"/>
                <a:gd name="T88" fmla="*/ 21 w 1082"/>
                <a:gd name="T89" fmla="*/ 516 h 2110"/>
                <a:gd name="T90" fmla="*/ 6 w 1082"/>
                <a:gd name="T91" fmla="*/ 641 h 2110"/>
                <a:gd name="T92" fmla="*/ 0 w 1082"/>
                <a:gd name="T93" fmla="*/ 815 h 2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82" h="2110">
                  <a:moveTo>
                    <a:pt x="0" y="815"/>
                  </a:moveTo>
                  <a:lnTo>
                    <a:pt x="0" y="815"/>
                  </a:lnTo>
                  <a:lnTo>
                    <a:pt x="4" y="870"/>
                  </a:lnTo>
                  <a:lnTo>
                    <a:pt x="9" y="923"/>
                  </a:lnTo>
                  <a:lnTo>
                    <a:pt x="17" y="976"/>
                  </a:lnTo>
                  <a:lnTo>
                    <a:pt x="25" y="1027"/>
                  </a:lnTo>
                  <a:lnTo>
                    <a:pt x="34" y="1076"/>
                  </a:lnTo>
                  <a:lnTo>
                    <a:pt x="43" y="1125"/>
                  </a:lnTo>
                  <a:lnTo>
                    <a:pt x="55" y="1172"/>
                  </a:lnTo>
                  <a:lnTo>
                    <a:pt x="66" y="1220"/>
                  </a:lnTo>
                  <a:lnTo>
                    <a:pt x="79" y="1267"/>
                  </a:lnTo>
                  <a:lnTo>
                    <a:pt x="95" y="1312"/>
                  </a:lnTo>
                  <a:lnTo>
                    <a:pt x="108" y="1356"/>
                  </a:lnTo>
                  <a:lnTo>
                    <a:pt x="125" y="1399"/>
                  </a:lnTo>
                  <a:lnTo>
                    <a:pt x="142" y="1443"/>
                  </a:lnTo>
                  <a:lnTo>
                    <a:pt x="161" y="1484"/>
                  </a:lnTo>
                  <a:lnTo>
                    <a:pt x="180" y="1524"/>
                  </a:lnTo>
                  <a:lnTo>
                    <a:pt x="199" y="1564"/>
                  </a:lnTo>
                  <a:lnTo>
                    <a:pt x="219" y="1604"/>
                  </a:lnTo>
                  <a:lnTo>
                    <a:pt x="240" y="1641"/>
                  </a:lnTo>
                  <a:lnTo>
                    <a:pt x="263" y="1679"/>
                  </a:lnTo>
                  <a:lnTo>
                    <a:pt x="286" y="1715"/>
                  </a:lnTo>
                  <a:lnTo>
                    <a:pt x="335" y="1785"/>
                  </a:lnTo>
                  <a:lnTo>
                    <a:pt x="388" y="1853"/>
                  </a:lnTo>
                  <a:lnTo>
                    <a:pt x="443" y="1917"/>
                  </a:lnTo>
                  <a:lnTo>
                    <a:pt x="499" y="1978"/>
                  </a:lnTo>
                  <a:lnTo>
                    <a:pt x="560" y="2036"/>
                  </a:lnTo>
                  <a:lnTo>
                    <a:pt x="624" y="2091"/>
                  </a:lnTo>
                  <a:lnTo>
                    <a:pt x="624" y="2091"/>
                  </a:lnTo>
                  <a:lnTo>
                    <a:pt x="641" y="2105"/>
                  </a:lnTo>
                  <a:lnTo>
                    <a:pt x="649" y="2108"/>
                  </a:lnTo>
                  <a:lnTo>
                    <a:pt x="654" y="2110"/>
                  </a:lnTo>
                  <a:lnTo>
                    <a:pt x="654" y="2110"/>
                  </a:lnTo>
                  <a:lnTo>
                    <a:pt x="635" y="1980"/>
                  </a:lnTo>
                  <a:lnTo>
                    <a:pt x="617" y="1853"/>
                  </a:lnTo>
                  <a:lnTo>
                    <a:pt x="581" y="1594"/>
                  </a:lnTo>
                  <a:lnTo>
                    <a:pt x="581" y="1594"/>
                  </a:lnTo>
                  <a:lnTo>
                    <a:pt x="705" y="1573"/>
                  </a:lnTo>
                  <a:lnTo>
                    <a:pt x="828" y="1554"/>
                  </a:lnTo>
                  <a:lnTo>
                    <a:pt x="1082" y="1518"/>
                  </a:lnTo>
                  <a:lnTo>
                    <a:pt x="1082" y="1518"/>
                  </a:lnTo>
                  <a:lnTo>
                    <a:pt x="1076" y="1511"/>
                  </a:lnTo>
                  <a:lnTo>
                    <a:pt x="1070" y="1505"/>
                  </a:lnTo>
                  <a:lnTo>
                    <a:pt x="1070" y="1505"/>
                  </a:lnTo>
                  <a:lnTo>
                    <a:pt x="1036" y="1471"/>
                  </a:lnTo>
                  <a:lnTo>
                    <a:pt x="1004" y="1437"/>
                  </a:lnTo>
                  <a:lnTo>
                    <a:pt x="974" y="1401"/>
                  </a:lnTo>
                  <a:lnTo>
                    <a:pt x="944" y="1365"/>
                  </a:lnTo>
                  <a:lnTo>
                    <a:pt x="915" y="1326"/>
                  </a:lnTo>
                  <a:lnTo>
                    <a:pt x="889" y="1286"/>
                  </a:lnTo>
                  <a:lnTo>
                    <a:pt x="864" y="1242"/>
                  </a:lnTo>
                  <a:lnTo>
                    <a:pt x="842" y="1197"/>
                  </a:lnTo>
                  <a:lnTo>
                    <a:pt x="842" y="1197"/>
                  </a:lnTo>
                  <a:lnTo>
                    <a:pt x="821" y="1155"/>
                  </a:lnTo>
                  <a:lnTo>
                    <a:pt x="804" y="1114"/>
                  </a:lnTo>
                  <a:lnTo>
                    <a:pt x="789" y="1070"/>
                  </a:lnTo>
                  <a:lnTo>
                    <a:pt x="775" y="1025"/>
                  </a:lnTo>
                  <a:lnTo>
                    <a:pt x="764" y="980"/>
                  </a:lnTo>
                  <a:lnTo>
                    <a:pt x="755" y="932"/>
                  </a:lnTo>
                  <a:lnTo>
                    <a:pt x="747" y="885"/>
                  </a:lnTo>
                  <a:lnTo>
                    <a:pt x="741" y="838"/>
                  </a:lnTo>
                  <a:lnTo>
                    <a:pt x="738" y="789"/>
                  </a:lnTo>
                  <a:lnTo>
                    <a:pt x="738" y="741"/>
                  </a:lnTo>
                  <a:lnTo>
                    <a:pt x="739" y="692"/>
                  </a:lnTo>
                  <a:lnTo>
                    <a:pt x="743" y="643"/>
                  </a:lnTo>
                  <a:lnTo>
                    <a:pt x="751" y="596"/>
                  </a:lnTo>
                  <a:lnTo>
                    <a:pt x="760" y="549"/>
                  </a:lnTo>
                  <a:lnTo>
                    <a:pt x="773" y="501"/>
                  </a:lnTo>
                  <a:lnTo>
                    <a:pt x="789" y="454"/>
                  </a:lnTo>
                  <a:lnTo>
                    <a:pt x="789" y="454"/>
                  </a:lnTo>
                  <a:lnTo>
                    <a:pt x="766" y="411"/>
                  </a:lnTo>
                  <a:lnTo>
                    <a:pt x="732" y="339"/>
                  </a:lnTo>
                  <a:lnTo>
                    <a:pt x="732" y="339"/>
                  </a:lnTo>
                  <a:lnTo>
                    <a:pt x="713" y="295"/>
                  </a:lnTo>
                  <a:lnTo>
                    <a:pt x="692" y="254"/>
                  </a:lnTo>
                  <a:lnTo>
                    <a:pt x="649" y="172"/>
                  </a:lnTo>
                  <a:lnTo>
                    <a:pt x="603" y="87"/>
                  </a:lnTo>
                  <a:lnTo>
                    <a:pt x="582" y="44"/>
                  </a:lnTo>
                  <a:lnTo>
                    <a:pt x="560" y="0"/>
                  </a:lnTo>
                  <a:lnTo>
                    <a:pt x="560" y="0"/>
                  </a:lnTo>
                  <a:lnTo>
                    <a:pt x="439" y="59"/>
                  </a:lnTo>
                  <a:lnTo>
                    <a:pt x="320" y="118"/>
                  </a:lnTo>
                  <a:lnTo>
                    <a:pt x="202" y="174"/>
                  </a:lnTo>
                  <a:lnTo>
                    <a:pt x="85" y="231"/>
                  </a:lnTo>
                  <a:lnTo>
                    <a:pt x="85" y="231"/>
                  </a:lnTo>
                  <a:lnTo>
                    <a:pt x="68" y="286"/>
                  </a:lnTo>
                  <a:lnTo>
                    <a:pt x="53" y="341"/>
                  </a:lnTo>
                  <a:lnTo>
                    <a:pt x="42" y="397"/>
                  </a:lnTo>
                  <a:lnTo>
                    <a:pt x="30" y="456"/>
                  </a:lnTo>
                  <a:lnTo>
                    <a:pt x="21" y="516"/>
                  </a:lnTo>
                  <a:lnTo>
                    <a:pt x="13" y="579"/>
                  </a:lnTo>
                  <a:lnTo>
                    <a:pt x="6" y="641"/>
                  </a:lnTo>
                  <a:lnTo>
                    <a:pt x="0" y="706"/>
                  </a:lnTo>
                  <a:lnTo>
                    <a:pt x="0" y="815"/>
                  </a:lnTo>
                  <a:close/>
                </a:path>
              </a:pathLst>
            </a:custGeom>
            <a:grpFill/>
            <a:ln w="25400">
              <a:noFill/>
            </a:ln>
            <a:scene3d>
              <a:camera prst="orthographicFront">
                <a:rot lat="0" lon="0" rev="0"/>
              </a:camera>
              <a:lightRig rig="threePt" dir="t"/>
            </a:scene3d>
            <a:sp3d>
              <a:bevelT/>
              <a:bevelB/>
            </a:sp3d>
          </p:spPr>
          <p:txBody>
            <a:bodyPr vert="horz" wrap="square" lIns="68580" tIns="34290" rIns="68580" bIns="34290" numCol="1" anchor="t" anchorCtr="0" compatLnSpc="1">
              <a:prstTxWarp prst="textNoShape">
                <a:avLst/>
              </a:prstTxWarp>
            </a:bodyPr>
            <a:lstStyle/>
            <a:p>
              <a:pPr>
                <a:defRPr/>
              </a:pPr>
              <a:endParaRPr lang="en-US" sz="1200" kern="0">
                <a:solidFill>
                  <a:schemeClr val="tx2"/>
                </a:solidFill>
              </a:endParaRPr>
            </a:p>
          </p:txBody>
        </p:sp>
        <p:sp>
          <p:nvSpPr>
            <p:cNvPr id="6" name="Freeform 7">
              <a:hlinkClick r:id="" action="ppaction://noaction"/>
              <a:extLst>
                <a:ext uri="{FF2B5EF4-FFF2-40B4-BE49-F238E27FC236}">
                  <a16:creationId xmlns:a16="http://schemas.microsoft.com/office/drawing/2014/main" id="{5712126C-57A1-4B68-93D2-5E691A5FAD44}"/>
                </a:ext>
              </a:extLst>
            </p:cNvPr>
            <p:cNvSpPr>
              <a:spLocks/>
            </p:cNvSpPr>
            <p:nvPr/>
          </p:nvSpPr>
          <p:spPr bwMode="auto">
            <a:xfrm flipH="1" flipV="1">
              <a:off x="5101440" y="1066800"/>
              <a:ext cx="2771799" cy="1258033"/>
            </a:xfrm>
            <a:custGeom>
              <a:avLst/>
              <a:gdLst>
                <a:gd name="T0" fmla="*/ 1149 w 2042"/>
                <a:gd name="T1" fmla="*/ 926 h 926"/>
                <a:gd name="T2" fmla="*/ 1286 w 2042"/>
                <a:gd name="T3" fmla="*/ 917 h 926"/>
                <a:gd name="T4" fmla="*/ 1414 w 2042"/>
                <a:gd name="T5" fmla="*/ 898 h 926"/>
                <a:gd name="T6" fmla="*/ 1535 w 2042"/>
                <a:gd name="T7" fmla="*/ 871 h 926"/>
                <a:gd name="T8" fmla="*/ 1649 w 2042"/>
                <a:gd name="T9" fmla="*/ 837 h 926"/>
                <a:gd name="T10" fmla="*/ 1755 w 2042"/>
                <a:gd name="T11" fmla="*/ 796 h 926"/>
                <a:gd name="T12" fmla="*/ 1855 w 2042"/>
                <a:gd name="T13" fmla="*/ 750 h 926"/>
                <a:gd name="T14" fmla="*/ 1951 w 2042"/>
                <a:gd name="T15" fmla="*/ 697 h 926"/>
                <a:gd name="T16" fmla="*/ 2042 w 2042"/>
                <a:gd name="T17" fmla="*/ 641 h 926"/>
                <a:gd name="T18" fmla="*/ 1777 w 2042"/>
                <a:gd name="T19" fmla="*/ 595 h 926"/>
                <a:gd name="T20" fmla="*/ 1520 w 2042"/>
                <a:gd name="T21" fmla="*/ 550 h 926"/>
                <a:gd name="T22" fmla="*/ 1605 w 2042"/>
                <a:gd name="T23" fmla="*/ 51 h 926"/>
                <a:gd name="T24" fmla="*/ 1550 w 2042"/>
                <a:gd name="T25" fmla="*/ 79 h 926"/>
                <a:gd name="T26" fmla="*/ 1429 w 2042"/>
                <a:gd name="T27" fmla="*/ 132 h 926"/>
                <a:gd name="T28" fmla="*/ 1331 w 2042"/>
                <a:gd name="T29" fmla="*/ 162 h 926"/>
                <a:gd name="T30" fmla="*/ 1265 w 2042"/>
                <a:gd name="T31" fmla="*/ 177 h 926"/>
                <a:gd name="T32" fmla="*/ 1195 w 2042"/>
                <a:gd name="T33" fmla="*/ 189 h 926"/>
                <a:gd name="T34" fmla="*/ 1125 w 2042"/>
                <a:gd name="T35" fmla="*/ 194 h 926"/>
                <a:gd name="T36" fmla="*/ 1089 w 2042"/>
                <a:gd name="T37" fmla="*/ 194 h 926"/>
                <a:gd name="T38" fmla="*/ 1004 w 2042"/>
                <a:gd name="T39" fmla="*/ 191 h 926"/>
                <a:gd name="T40" fmla="*/ 922 w 2042"/>
                <a:gd name="T41" fmla="*/ 179 h 926"/>
                <a:gd name="T42" fmla="*/ 841 w 2042"/>
                <a:gd name="T43" fmla="*/ 162 h 926"/>
                <a:gd name="T44" fmla="*/ 765 w 2042"/>
                <a:gd name="T45" fmla="*/ 138 h 926"/>
                <a:gd name="T46" fmla="*/ 692 w 2042"/>
                <a:gd name="T47" fmla="*/ 109 h 926"/>
                <a:gd name="T48" fmla="*/ 622 w 2042"/>
                <a:gd name="T49" fmla="*/ 75 h 926"/>
                <a:gd name="T50" fmla="*/ 556 w 2042"/>
                <a:gd name="T51" fmla="*/ 39 h 926"/>
                <a:gd name="T52" fmla="*/ 497 w 2042"/>
                <a:gd name="T53" fmla="*/ 0 h 926"/>
                <a:gd name="T54" fmla="*/ 438 w 2042"/>
                <a:gd name="T55" fmla="*/ 11 h 926"/>
                <a:gd name="T56" fmla="*/ 253 w 2042"/>
                <a:gd name="T57" fmla="*/ 39 h 926"/>
                <a:gd name="T58" fmla="*/ 0 w 2042"/>
                <a:gd name="T59" fmla="*/ 77 h 926"/>
                <a:gd name="T60" fmla="*/ 17 w 2042"/>
                <a:gd name="T61" fmla="*/ 211 h 926"/>
                <a:gd name="T62" fmla="*/ 73 w 2042"/>
                <a:gd name="T63" fmla="*/ 601 h 926"/>
                <a:gd name="T64" fmla="*/ 145 w 2042"/>
                <a:gd name="T65" fmla="*/ 650 h 926"/>
                <a:gd name="T66" fmla="*/ 257 w 2042"/>
                <a:gd name="T67" fmla="*/ 716 h 926"/>
                <a:gd name="T68" fmla="*/ 336 w 2042"/>
                <a:gd name="T69" fmla="*/ 758 h 926"/>
                <a:gd name="T70" fmla="*/ 418 w 2042"/>
                <a:gd name="T71" fmla="*/ 794 h 926"/>
                <a:gd name="T72" fmla="*/ 505 w 2042"/>
                <a:gd name="T73" fmla="*/ 828 h 926"/>
                <a:gd name="T74" fmla="*/ 593 w 2042"/>
                <a:gd name="T75" fmla="*/ 856 h 926"/>
                <a:gd name="T76" fmla="*/ 688 w 2042"/>
                <a:gd name="T77" fmla="*/ 883 h 926"/>
                <a:gd name="T78" fmla="*/ 737 w 2042"/>
                <a:gd name="T79" fmla="*/ 892 h 926"/>
                <a:gd name="T80" fmla="*/ 818 w 2042"/>
                <a:gd name="T81" fmla="*/ 905 h 926"/>
                <a:gd name="T82" fmla="*/ 989 w 2042"/>
                <a:gd name="T83" fmla="*/ 922 h 926"/>
                <a:gd name="T84" fmla="*/ 1034 w 2042"/>
                <a:gd name="T85" fmla="*/ 926 h 926"/>
                <a:gd name="T86" fmla="*/ 1149 w 2042"/>
                <a:gd name="T87" fmla="*/ 926 h 9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042" h="926">
                  <a:moveTo>
                    <a:pt x="1149" y="926"/>
                  </a:moveTo>
                  <a:lnTo>
                    <a:pt x="1149" y="926"/>
                  </a:lnTo>
                  <a:lnTo>
                    <a:pt x="1217" y="922"/>
                  </a:lnTo>
                  <a:lnTo>
                    <a:pt x="1286" y="917"/>
                  </a:lnTo>
                  <a:lnTo>
                    <a:pt x="1352" y="907"/>
                  </a:lnTo>
                  <a:lnTo>
                    <a:pt x="1414" y="898"/>
                  </a:lnTo>
                  <a:lnTo>
                    <a:pt x="1475" y="884"/>
                  </a:lnTo>
                  <a:lnTo>
                    <a:pt x="1535" y="871"/>
                  </a:lnTo>
                  <a:lnTo>
                    <a:pt x="1592" y="854"/>
                  </a:lnTo>
                  <a:lnTo>
                    <a:pt x="1649" y="837"/>
                  </a:lnTo>
                  <a:lnTo>
                    <a:pt x="1702" y="816"/>
                  </a:lnTo>
                  <a:lnTo>
                    <a:pt x="1755" y="796"/>
                  </a:lnTo>
                  <a:lnTo>
                    <a:pt x="1806" y="773"/>
                  </a:lnTo>
                  <a:lnTo>
                    <a:pt x="1855" y="750"/>
                  </a:lnTo>
                  <a:lnTo>
                    <a:pt x="1904" y="724"/>
                  </a:lnTo>
                  <a:lnTo>
                    <a:pt x="1951" y="697"/>
                  </a:lnTo>
                  <a:lnTo>
                    <a:pt x="1997" y="671"/>
                  </a:lnTo>
                  <a:lnTo>
                    <a:pt x="2042" y="641"/>
                  </a:lnTo>
                  <a:lnTo>
                    <a:pt x="2042" y="641"/>
                  </a:lnTo>
                  <a:lnTo>
                    <a:pt x="1777" y="595"/>
                  </a:lnTo>
                  <a:lnTo>
                    <a:pt x="1641" y="572"/>
                  </a:lnTo>
                  <a:lnTo>
                    <a:pt x="1520" y="550"/>
                  </a:lnTo>
                  <a:lnTo>
                    <a:pt x="1520" y="550"/>
                  </a:lnTo>
                  <a:lnTo>
                    <a:pt x="1605" y="51"/>
                  </a:lnTo>
                  <a:lnTo>
                    <a:pt x="1605" y="51"/>
                  </a:lnTo>
                  <a:lnTo>
                    <a:pt x="1550" y="79"/>
                  </a:lnTo>
                  <a:lnTo>
                    <a:pt x="1490" y="107"/>
                  </a:lnTo>
                  <a:lnTo>
                    <a:pt x="1429" y="132"/>
                  </a:lnTo>
                  <a:lnTo>
                    <a:pt x="1365" y="153"/>
                  </a:lnTo>
                  <a:lnTo>
                    <a:pt x="1331" y="162"/>
                  </a:lnTo>
                  <a:lnTo>
                    <a:pt x="1299" y="170"/>
                  </a:lnTo>
                  <a:lnTo>
                    <a:pt x="1265" y="177"/>
                  </a:lnTo>
                  <a:lnTo>
                    <a:pt x="1231" y="183"/>
                  </a:lnTo>
                  <a:lnTo>
                    <a:pt x="1195" y="189"/>
                  </a:lnTo>
                  <a:lnTo>
                    <a:pt x="1159" y="192"/>
                  </a:lnTo>
                  <a:lnTo>
                    <a:pt x="1125" y="194"/>
                  </a:lnTo>
                  <a:lnTo>
                    <a:pt x="1089" y="194"/>
                  </a:lnTo>
                  <a:lnTo>
                    <a:pt x="1089" y="194"/>
                  </a:lnTo>
                  <a:lnTo>
                    <a:pt x="1045" y="194"/>
                  </a:lnTo>
                  <a:lnTo>
                    <a:pt x="1004" y="191"/>
                  </a:lnTo>
                  <a:lnTo>
                    <a:pt x="962" y="187"/>
                  </a:lnTo>
                  <a:lnTo>
                    <a:pt x="922" y="179"/>
                  </a:lnTo>
                  <a:lnTo>
                    <a:pt x="881" y="172"/>
                  </a:lnTo>
                  <a:lnTo>
                    <a:pt x="841" y="162"/>
                  </a:lnTo>
                  <a:lnTo>
                    <a:pt x="803" y="151"/>
                  </a:lnTo>
                  <a:lnTo>
                    <a:pt x="765" y="138"/>
                  </a:lnTo>
                  <a:lnTo>
                    <a:pt x="728" y="124"/>
                  </a:lnTo>
                  <a:lnTo>
                    <a:pt x="692" y="109"/>
                  </a:lnTo>
                  <a:lnTo>
                    <a:pt x="656" y="92"/>
                  </a:lnTo>
                  <a:lnTo>
                    <a:pt x="622" y="75"/>
                  </a:lnTo>
                  <a:lnTo>
                    <a:pt x="588" y="58"/>
                  </a:lnTo>
                  <a:lnTo>
                    <a:pt x="556" y="39"/>
                  </a:lnTo>
                  <a:lnTo>
                    <a:pt x="525" y="19"/>
                  </a:lnTo>
                  <a:lnTo>
                    <a:pt x="497" y="0"/>
                  </a:lnTo>
                  <a:lnTo>
                    <a:pt x="497" y="0"/>
                  </a:lnTo>
                  <a:lnTo>
                    <a:pt x="438" y="11"/>
                  </a:lnTo>
                  <a:lnTo>
                    <a:pt x="378" y="20"/>
                  </a:lnTo>
                  <a:lnTo>
                    <a:pt x="253" y="39"/>
                  </a:lnTo>
                  <a:lnTo>
                    <a:pt x="126" y="56"/>
                  </a:lnTo>
                  <a:lnTo>
                    <a:pt x="0" y="77"/>
                  </a:lnTo>
                  <a:lnTo>
                    <a:pt x="0" y="77"/>
                  </a:lnTo>
                  <a:lnTo>
                    <a:pt x="17" y="211"/>
                  </a:lnTo>
                  <a:lnTo>
                    <a:pt x="36" y="340"/>
                  </a:lnTo>
                  <a:lnTo>
                    <a:pt x="73" y="601"/>
                  </a:lnTo>
                  <a:lnTo>
                    <a:pt x="73" y="601"/>
                  </a:lnTo>
                  <a:lnTo>
                    <a:pt x="145" y="650"/>
                  </a:lnTo>
                  <a:lnTo>
                    <a:pt x="219" y="695"/>
                  </a:lnTo>
                  <a:lnTo>
                    <a:pt x="257" y="716"/>
                  </a:lnTo>
                  <a:lnTo>
                    <a:pt x="296" y="737"/>
                  </a:lnTo>
                  <a:lnTo>
                    <a:pt x="336" y="758"/>
                  </a:lnTo>
                  <a:lnTo>
                    <a:pt x="376" y="777"/>
                  </a:lnTo>
                  <a:lnTo>
                    <a:pt x="418" y="794"/>
                  </a:lnTo>
                  <a:lnTo>
                    <a:pt x="461" y="813"/>
                  </a:lnTo>
                  <a:lnTo>
                    <a:pt x="505" y="828"/>
                  </a:lnTo>
                  <a:lnTo>
                    <a:pt x="548" y="843"/>
                  </a:lnTo>
                  <a:lnTo>
                    <a:pt x="593" y="856"/>
                  </a:lnTo>
                  <a:lnTo>
                    <a:pt x="641" y="869"/>
                  </a:lnTo>
                  <a:lnTo>
                    <a:pt x="688" y="883"/>
                  </a:lnTo>
                  <a:lnTo>
                    <a:pt x="737" y="892"/>
                  </a:lnTo>
                  <a:lnTo>
                    <a:pt x="737" y="892"/>
                  </a:lnTo>
                  <a:lnTo>
                    <a:pt x="775" y="900"/>
                  </a:lnTo>
                  <a:lnTo>
                    <a:pt x="818" y="905"/>
                  </a:lnTo>
                  <a:lnTo>
                    <a:pt x="909" y="917"/>
                  </a:lnTo>
                  <a:lnTo>
                    <a:pt x="989" y="922"/>
                  </a:lnTo>
                  <a:lnTo>
                    <a:pt x="1034" y="926"/>
                  </a:lnTo>
                  <a:lnTo>
                    <a:pt x="1034" y="926"/>
                  </a:lnTo>
                  <a:lnTo>
                    <a:pt x="1102" y="926"/>
                  </a:lnTo>
                  <a:lnTo>
                    <a:pt x="1149" y="926"/>
                  </a:lnTo>
                  <a:lnTo>
                    <a:pt x="1149" y="926"/>
                  </a:lnTo>
                  <a:close/>
                </a:path>
              </a:pathLst>
            </a:custGeom>
            <a:grpFill/>
            <a:ln w="28575">
              <a:noFill/>
            </a:ln>
            <a:scene3d>
              <a:camera prst="orthographicFront">
                <a:rot lat="0" lon="0" rev="0"/>
              </a:camera>
              <a:lightRig rig="threePt" dir="t"/>
            </a:scene3d>
            <a:sp3d>
              <a:bevelT/>
              <a:bevelB/>
            </a:sp3d>
          </p:spPr>
          <p:txBody>
            <a:bodyPr vert="horz" wrap="square" lIns="68580" tIns="34290" rIns="68580" bIns="34290" numCol="1" anchor="t" anchorCtr="0" compatLnSpc="1">
              <a:prstTxWarp prst="textNoShape">
                <a:avLst/>
              </a:prstTxWarp>
            </a:bodyPr>
            <a:lstStyle/>
            <a:p>
              <a:pPr>
                <a:defRPr/>
              </a:pPr>
              <a:endParaRPr lang="en-US" sz="1200" kern="0">
                <a:solidFill>
                  <a:schemeClr val="tx2"/>
                </a:solidFill>
              </a:endParaRPr>
            </a:p>
          </p:txBody>
        </p:sp>
        <p:sp>
          <p:nvSpPr>
            <p:cNvPr id="7" name="Freeform 8">
              <a:hlinkClick r:id="" action="ppaction://noaction"/>
              <a:extLst>
                <a:ext uri="{FF2B5EF4-FFF2-40B4-BE49-F238E27FC236}">
                  <a16:creationId xmlns:a16="http://schemas.microsoft.com/office/drawing/2014/main" id="{72242B8D-257A-491C-85FF-4ECAB37FE57E}"/>
                </a:ext>
              </a:extLst>
            </p:cNvPr>
            <p:cNvSpPr>
              <a:spLocks/>
            </p:cNvSpPr>
            <p:nvPr/>
          </p:nvSpPr>
          <p:spPr bwMode="auto">
            <a:xfrm flipH="1" flipV="1">
              <a:off x="4038600" y="1519203"/>
              <a:ext cx="1670953" cy="2535087"/>
            </a:xfrm>
            <a:custGeom>
              <a:avLst/>
              <a:gdLst>
                <a:gd name="T0" fmla="*/ 1231 w 1231"/>
                <a:gd name="T1" fmla="*/ 407 h 1866"/>
                <a:gd name="T2" fmla="*/ 1216 w 1231"/>
                <a:gd name="T3" fmla="*/ 244 h 1866"/>
                <a:gd name="T4" fmla="*/ 1201 w 1231"/>
                <a:gd name="T5" fmla="*/ 142 h 1866"/>
                <a:gd name="T6" fmla="*/ 1178 w 1231"/>
                <a:gd name="T7" fmla="*/ 46 h 1866"/>
                <a:gd name="T8" fmla="*/ 1167 w 1231"/>
                <a:gd name="T9" fmla="*/ 0 h 1866"/>
                <a:gd name="T10" fmla="*/ 949 w 1231"/>
                <a:gd name="T11" fmla="*/ 418 h 1866"/>
                <a:gd name="T12" fmla="*/ 934 w 1231"/>
                <a:gd name="T13" fmla="*/ 445 h 1866"/>
                <a:gd name="T14" fmla="*/ 917 w 1231"/>
                <a:gd name="T15" fmla="*/ 471 h 1866"/>
                <a:gd name="T16" fmla="*/ 467 w 1231"/>
                <a:gd name="T17" fmla="*/ 237 h 1866"/>
                <a:gd name="T18" fmla="*/ 476 w 1231"/>
                <a:gd name="T19" fmla="*/ 274 h 1866"/>
                <a:gd name="T20" fmla="*/ 488 w 1231"/>
                <a:gd name="T21" fmla="*/ 352 h 1866"/>
                <a:gd name="T22" fmla="*/ 493 w 1231"/>
                <a:gd name="T23" fmla="*/ 428 h 1866"/>
                <a:gd name="T24" fmla="*/ 493 w 1231"/>
                <a:gd name="T25" fmla="*/ 503 h 1866"/>
                <a:gd name="T26" fmla="*/ 488 w 1231"/>
                <a:gd name="T27" fmla="*/ 579 h 1866"/>
                <a:gd name="T28" fmla="*/ 475 w 1231"/>
                <a:gd name="T29" fmla="*/ 654 h 1866"/>
                <a:gd name="T30" fmla="*/ 458 w 1231"/>
                <a:gd name="T31" fmla="*/ 726 h 1866"/>
                <a:gd name="T32" fmla="*/ 435 w 1231"/>
                <a:gd name="T33" fmla="*/ 798 h 1866"/>
                <a:gd name="T34" fmla="*/ 408 w 1231"/>
                <a:gd name="T35" fmla="*/ 868 h 1866"/>
                <a:gd name="T36" fmla="*/ 376 w 1231"/>
                <a:gd name="T37" fmla="*/ 934 h 1866"/>
                <a:gd name="T38" fmla="*/ 340 w 1231"/>
                <a:gd name="T39" fmla="*/ 997 h 1866"/>
                <a:gd name="T40" fmla="*/ 301 w 1231"/>
                <a:gd name="T41" fmla="*/ 1057 h 1866"/>
                <a:gd name="T42" fmla="*/ 257 w 1231"/>
                <a:gd name="T43" fmla="*/ 1114 h 1866"/>
                <a:gd name="T44" fmla="*/ 210 w 1231"/>
                <a:gd name="T45" fmla="*/ 1167 h 1866"/>
                <a:gd name="T46" fmla="*/ 159 w 1231"/>
                <a:gd name="T47" fmla="*/ 1216 h 1866"/>
                <a:gd name="T48" fmla="*/ 106 w 1231"/>
                <a:gd name="T49" fmla="*/ 1259 h 1866"/>
                <a:gd name="T50" fmla="*/ 79 w 1231"/>
                <a:gd name="T51" fmla="*/ 1280 h 1866"/>
                <a:gd name="T52" fmla="*/ 40 w 1231"/>
                <a:gd name="T53" fmla="*/ 1526 h 1866"/>
                <a:gd name="T54" fmla="*/ 0 w 1231"/>
                <a:gd name="T55" fmla="*/ 1774 h 1866"/>
                <a:gd name="T56" fmla="*/ 136 w 1231"/>
                <a:gd name="T57" fmla="*/ 1800 h 1866"/>
                <a:gd name="T58" fmla="*/ 389 w 1231"/>
                <a:gd name="T59" fmla="*/ 1844 h 1866"/>
                <a:gd name="T60" fmla="*/ 518 w 1231"/>
                <a:gd name="T61" fmla="*/ 1866 h 1866"/>
                <a:gd name="T62" fmla="*/ 660 w 1231"/>
                <a:gd name="T63" fmla="*/ 1749 h 1866"/>
                <a:gd name="T64" fmla="*/ 756 w 1231"/>
                <a:gd name="T65" fmla="*/ 1655 h 1866"/>
                <a:gd name="T66" fmla="*/ 819 w 1231"/>
                <a:gd name="T67" fmla="*/ 1588 h 1866"/>
                <a:gd name="T68" fmla="*/ 875 w 1231"/>
                <a:gd name="T69" fmla="*/ 1516 h 1866"/>
                <a:gd name="T70" fmla="*/ 930 w 1231"/>
                <a:gd name="T71" fmla="*/ 1443 h 1866"/>
                <a:gd name="T72" fmla="*/ 981 w 1231"/>
                <a:gd name="T73" fmla="*/ 1365 h 1866"/>
                <a:gd name="T74" fmla="*/ 1029 w 1231"/>
                <a:gd name="T75" fmla="*/ 1284 h 1866"/>
                <a:gd name="T76" fmla="*/ 1070 w 1231"/>
                <a:gd name="T77" fmla="*/ 1197 h 1866"/>
                <a:gd name="T78" fmla="*/ 1108 w 1231"/>
                <a:gd name="T79" fmla="*/ 1108 h 1866"/>
                <a:gd name="T80" fmla="*/ 1142 w 1231"/>
                <a:gd name="T81" fmla="*/ 1012 h 1866"/>
                <a:gd name="T82" fmla="*/ 1170 w 1231"/>
                <a:gd name="T83" fmla="*/ 913 h 1866"/>
                <a:gd name="T84" fmla="*/ 1195 w 1231"/>
                <a:gd name="T85" fmla="*/ 808 h 1866"/>
                <a:gd name="T86" fmla="*/ 1214 w 1231"/>
                <a:gd name="T87" fmla="*/ 698 h 1866"/>
                <a:gd name="T88" fmla="*/ 1227 w 1231"/>
                <a:gd name="T89" fmla="*/ 583 h 1866"/>
                <a:gd name="T90" fmla="*/ 1231 w 1231"/>
                <a:gd name="T91" fmla="*/ 407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31" h="1866">
                  <a:moveTo>
                    <a:pt x="1231" y="407"/>
                  </a:moveTo>
                  <a:lnTo>
                    <a:pt x="1231" y="407"/>
                  </a:lnTo>
                  <a:lnTo>
                    <a:pt x="1222" y="299"/>
                  </a:lnTo>
                  <a:lnTo>
                    <a:pt x="1216" y="244"/>
                  </a:lnTo>
                  <a:lnTo>
                    <a:pt x="1208" y="193"/>
                  </a:lnTo>
                  <a:lnTo>
                    <a:pt x="1201" y="142"/>
                  </a:lnTo>
                  <a:lnTo>
                    <a:pt x="1191" y="93"/>
                  </a:lnTo>
                  <a:lnTo>
                    <a:pt x="1178" y="46"/>
                  </a:lnTo>
                  <a:lnTo>
                    <a:pt x="1167" y="0"/>
                  </a:lnTo>
                  <a:lnTo>
                    <a:pt x="1167" y="0"/>
                  </a:lnTo>
                  <a:lnTo>
                    <a:pt x="1059" y="208"/>
                  </a:lnTo>
                  <a:lnTo>
                    <a:pt x="949" y="418"/>
                  </a:lnTo>
                  <a:lnTo>
                    <a:pt x="949" y="418"/>
                  </a:lnTo>
                  <a:lnTo>
                    <a:pt x="934" y="445"/>
                  </a:lnTo>
                  <a:lnTo>
                    <a:pt x="917" y="471"/>
                  </a:lnTo>
                  <a:lnTo>
                    <a:pt x="917" y="471"/>
                  </a:lnTo>
                  <a:lnTo>
                    <a:pt x="692" y="354"/>
                  </a:lnTo>
                  <a:lnTo>
                    <a:pt x="467" y="237"/>
                  </a:lnTo>
                  <a:lnTo>
                    <a:pt x="467" y="237"/>
                  </a:lnTo>
                  <a:lnTo>
                    <a:pt x="476" y="274"/>
                  </a:lnTo>
                  <a:lnTo>
                    <a:pt x="484" y="312"/>
                  </a:lnTo>
                  <a:lnTo>
                    <a:pt x="488" y="352"/>
                  </a:lnTo>
                  <a:lnTo>
                    <a:pt x="492" y="390"/>
                  </a:lnTo>
                  <a:lnTo>
                    <a:pt x="493" y="428"/>
                  </a:lnTo>
                  <a:lnTo>
                    <a:pt x="495" y="465"/>
                  </a:lnTo>
                  <a:lnTo>
                    <a:pt x="493" y="503"/>
                  </a:lnTo>
                  <a:lnTo>
                    <a:pt x="492" y="541"/>
                  </a:lnTo>
                  <a:lnTo>
                    <a:pt x="488" y="579"/>
                  </a:lnTo>
                  <a:lnTo>
                    <a:pt x="482" y="617"/>
                  </a:lnTo>
                  <a:lnTo>
                    <a:pt x="475" y="654"/>
                  </a:lnTo>
                  <a:lnTo>
                    <a:pt x="467" y="690"/>
                  </a:lnTo>
                  <a:lnTo>
                    <a:pt x="458" y="726"/>
                  </a:lnTo>
                  <a:lnTo>
                    <a:pt x="448" y="762"/>
                  </a:lnTo>
                  <a:lnTo>
                    <a:pt x="435" y="798"/>
                  </a:lnTo>
                  <a:lnTo>
                    <a:pt x="422" y="832"/>
                  </a:lnTo>
                  <a:lnTo>
                    <a:pt x="408" y="868"/>
                  </a:lnTo>
                  <a:lnTo>
                    <a:pt x="393" y="900"/>
                  </a:lnTo>
                  <a:lnTo>
                    <a:pt x="376" y="934"/>
                  </a:lnTo>
                  <a:lnTo>
                    <a:pt x="359" y="966"/>
                  </a:lnTo>
                  <a:lnTo>
                    <a:pt x="340" y="997"/>
                  </a:lnTo>
                  <a:lnTo>
                    <a:pt x="321" y="1029"/>
                  </a:lnTo>
                  <a:lnTo>
                    <a:pt x="301" y="1057"/>
                  </a:lnTo>
                  <a:lnTo>
                    <a:pt x="280" y="1087"/>
                  </a:lnTo>
                  <a:lnTo>
                    <a:pt x="257" y="1114"/>
                  </a:lnTo>
                  <a:lnTo>
                    <a:pt x="234" y="1142"/>
                  </a:lnTo>
                  <a:lnTo>
                    <a:pt x="210" y="1167"/>
                  </a:lnTo>
                  <a:lnTo>
                    <a:pt x="185" y="1191"/>
                  </a:lnTo>
                  <a:lnTo>
                    <a:pt x="159" y="1216"/>
                  </a:lnTo>
                  <a:lnTo>
                    <a:pt x="132" y="1239"/>
                  </a:lnTo>
                  <a:lnTo>
                    <a:pt x="106" y="1259"/>
                  </a:lnTo>
                  <a:lnTo>
                    <a:pt x="79" y="1280"/>
                  </a:lnTo>
                  <a:lnTo>
                    <a:pt x="79" y="1280"/>
                  </a:lnTo>
                  <a:lnTo>
                    <a:pt x="60" y="1401"/>
                  </a:lnTo>
                  <a:lnTo>
                    <a:pt x="40" y="1526"/>
                  </a:lnTo>
                  <a:lnTo>
                    <a:pt x="19" y="1649"/>
                  </a:lnTo>
                  <a:lnTo>
                    <a:pt x="0" y="1774"/>
                  </a:lnTo>
                  <a:lnTo>
                    <a:pt x="0" y="1774"/>
                  </a:lnTo>
                  <a:lnTo>
                    <a:pt x="136" y="1800"/>
                  </a:lnTo>
                  <a:lnTo>
                    <a:pt x="265" y="1821"/>
                  </a:lnTo>
                  <a:lnTo>
                    <a:pt x="389" y="1844"/>
                  </a:lnTo>
                  <a:lnTo>
                    <a:pt x="518" y="1866"/>
                  </a:lnTo>
                  <a:lnTo>
                    <a:pt x="518" y="1866"/>
                  </a:lnTo>
                  <a:lnTo>
                    <a:pt x="590" y="1810"/>
                  </a:lnTo>
                  <a:lnTo>
                    <a:pt x="660" y="1749"/>
                  </a:lnTo>
                  <a:lnTo>
                    <a:pt x="724" y="1687"/>
                  </a:lnTo>
                  <a:lnTo>
                    <a:pt x="756" y="1655"/>
                  </a:lnTo>
                  <a:lnTo>
                    <a:pt x="788" y="1622"/>
                  </a:lnTo>
                  <a:lnTo>
                    <a:pt x="819" y="1588"/>
                  </a:lnTo>
                  <a:lnTo>
                    <a:pt x="847" y="1552"/>
                  </a:lnTo>
                  <a:lnTo>
                    <a:pt x="875" y="1516"/>
                  </a:lnTo>
                  <a:lnTo>
                    <a:pt x="904" y="1481"/>
                  </a:lnTo>
                  <a:lnTo>
                    <a:pt x="930" y="1443"/>
                  </a:lnTo>
                  <a:lnTo>
                    <a:pt x="957" y="1405"/>
                  </a:lnTo>
                  <a:lnTo>
                    <a:pt x="981" y="1365"/>
                  </a:lnTo>
                  <a:lnTo>
                    <a:pt x="1004" y="1326"/>
                  </a:lnTo>
                  <a:lnTo>
                    <a:pt x="1029" y="1284"/>
                  </a:lnTo>
                  <a:lnTo>
                    <a:pt x="1049" y="1240"/>
                  </a:lnTo>
                  <a:lnTo>
                    <a:pt x="1070" y="1197"/>
                  </a:lnTo>
                  <a:lnTo>
                    <a:pt x="1089" y="1154"/>
                  </a:lnTo>
                  <a:lnTo>
                    <a:pt x="1108" y="1108"/>
                  </a:lnTo>
                  <a:lnTo>
                    <a:pt x="1125" y="1061"/>
                  </a:lnTo>
                  <a:lnTo>
                    <a:pt x="1142" y="1012"/>
                  </a:lnTo>
                  <a:lnTo>
                    <a:pt x="1157" y="963"/>
                  </a:lnTo>
                  <a:lnTo>
                    <a:pt x="1170" y="913"/>
                  </a:lnTo>
                  <a:lnTo>
                    <a:pt x="1184" y="860"/>
                  </a:lnTo>
                  <a:lnTo>
                    <a:pt x="1195" y="808"/>
                  </a:lnTo>
                  <a:lnTo>
                    <a:pt x="1205" y="755"/>
                  </a:lnTo>
                  <a:lnTo>
                    <a:pt x="1214" y="698"/>
                  </a:lnTo>
                  <a:lnTo>
                    <a:pt x="1220" y="641"/>
                  </a:lnTo>
                  <a:lnTo>
                    <a:pt x="1227" y="583"/>
                  </a:lnTo>
                  <a:lnTo>
                    <a:pt x="1231" y="524"/>
                  </a:lnTo>
                  <a:lnTo>
                    <a:pt x="1231" y="407"/>
                  </a:lnTo>
                  <a:close/>
                </a:path>
              </a:pathLst>
            </a:custGeom>
            <a:grpFill/>
            <a:ln w="22225">
              <a:noFill/>
            </a:ln>
            <a:scene3d>
              <a:camera prst="orthographicFront">
                <a:rot lat="0" lon="0" rev="0"/>
              </a:camera>
              <a:lightRig rig="threePt" dir="t"/>
            </a:scene3d>
            <a:sp3d>
              <a:bevelT/>
              <a:bevelB/>
            </a:sp3d>
          </p:spPr>
          <p:txBody>
            <a:bodyPr vert="horz" wrap="square" lIns="68580" tIns="34290" rIns="68580" bIns="34290" numCol="1" anchor="t" anchorCtr="0" compatLnSpc="1">
              <a:prstTxWarp prst="textNoShape">
                <a:avLst/>
              </a:prstTxWarp>
            </a:bodyPr>
            <a:lstStyle/>
            <a:p>
              <a:pPr>
                <a:defRPr/>
              </a:pPr>
              <a:endParaRPr lang="en-US" sz="1200" kern="0">
                <a:solidFill>
                  <a:schemeClr val="tx2"/>
                </a:solidFill>
              </a:endParaRPr>
            </a:p>
          </p:txBody>
        </p:sp>
        <p:sp>
          <p:nvSpPr>
            <p:cNvPr id="8" name="Freeform 9">
              <a:hlinkClick r:id="" action="ppaction://noaction"/>
              <a:extLst>
                <a:ext uri="{FF2B5EF4-FFF2-40B4-BE49-F238E27FC236}">
                  <a16:creationId xmlns:a16="http://schemas.microsoft.com/office/drawing/2014/main" id="{E3EB81C5-21E9-4788-B45A-FE32FF639545}"/>
                </a:ext>
              </a:extLst>
            </p:cNvPr>
            <p:cNvSpPr>
              <a:spLocks/>
            </p:cNvSpPr>
            <p:nvPr/>
          </p:nvSpPr>
          <p:spPr bwMode="auto">
            <a:xfrm flipH="1" flipV="1">
              <a:off x="5910447" y="3945603"/>
              <a:ext cx="2690356" cy="1839501"/>
            </a:xfrm>
            <a:custGeom>
              <a:avLst/>
              <a:gdLst>
                <a:gd name="T0" fmla="*/ 1610 w 1982"/>
                <a:gd name="T1" fmla="*/ 0 h 1354"/>
                <a:gd name="T2" fmla="*/ 1797 w 1982"/>
                <a:gd name="T3" fmla="*/ 195 h 1354"/>
                <a:gd name="T4" fmla="*/ 1982 w 1982"/>
                <a:gd name="T5" fmla="*/ 389 h 1354"/>
                <a:gd name="T6" fmla="*/ 1903 w 1982"/>
                <a:gd name="T7" fmla="*/ 465 h 1354"/>
                <a:gd name="T8" fmla="*/ 1746 w 1982"/>
                <a:gd name="T9" fmla="*/ 618 h 1354"/>
                <a:gd name="T10" fmla="*/ 1665 w 1982"/>
                <a:gd name="T11" fmla="*/ 696 h 1354"/>
                <a:gd name="T12" fmla="*/ 1627 w 1982"/>
                <a:gd name="T13" fmla="*/ 732 h 1354"/>
                <a:gd name="T14" fmla="*/ 1619 w 1982"/>
                <a:gd name="T15" fmla="*/ 737 h 1354"/>
                <a:gd name="T16" fmla="*/ 1587 w 1982"/>
                <a:gd name="T17" fmla="*/ 741 h 1354"/>
                <a:gd name="T18" fmla="*/ 1538 w 1982"/>
                <a:gd name="T19" fmla="*/ 745 h 1354"/>
                <a:gd name="T20" fmla="*/ 1468 w 1982"/>
                <a:gd name="T21" fmla="*/ 752 h 1354"/>
                <a:gd name="T22" fmla="*/ 1402 w 1982"/>
                <a:gd name="T23" fmla="*/ 764 h 1354"/>
                <a:gd name="T24" fmla="*/ 1336 w 1982"/>
                <a:gd name="T25" fmla="*/ 781 h 1354"/>
                <a:gd name="T26" fmla="*/ 1271 w 1982"/>
                <a:gd name="T27" fmla="*/ 803 h 1354"/>
                <a:gd name="T28" fmla="*/ 1152 w 1982"/>
                <a:gd name="T29" fmla="*/ 858 h 1354"/>
                <a:gd name="T30" fmla="*/ 1046 w 1982"/>
                <a:gd name="T31" fmla="*/ 923 h 1354"/>
                <a:gd name="T32" fmla="*/ 1020 w 1982"/>
                <a:gd name="T33" fmla="*/ 943 h 1354"/>
                <a:gd name="T34" fmla="*/ 965 w 1982"/>
                <a:gd name="T35" fmla="*/ 987 h 1354"/>
                <a:gd name="T36" fmla="*/ 916 w 1982"/>
                <a:gd name="T37" fmla="*/ 1032 h 1354"/>
                <a:gd name="T38" fmla="*/ 870 w 1982"/>
                <a:gd name="T39" fmla="*/ 1083 h 1354"/>
                <a:gd name="T40" fmla="*/ 827 w 1982"/>
                <a:gd name="T41" fmla="*/ 1136 h 1354"/>
                <a:gd name="T42" fmla="*/ 787 w 1982"/>
                <a:gd name="T43" fmla="*/ 1193 h 1354"/>
                <a:gd name="T44" fmla="*/ 751 w 1982"/>
                <a:gd name="T45" fmla="*/ 1253 h 1354"/>
                <a:gd name="T46" fmla="*/ 702 w 1982"/>
                <a:gd name="T47" fmla="*/ 1354 h 1354"/>
                <a:gd name="T48" fmla="*/ 590 w 1982"/>
                <a:gd name="T49" fmla="*/ 1131 h 1354"/>
                <a:gd name="T50" fmla="*/ 475 w 1982"/>
                <a:gd name="T51" fmla="*/ 896 h 1354"/>
                <a:gd name="T52" fmla="*/ 0 w 1982"/>
                <a:gd name="T53" fmla="*/ 1129 h 1354"/>
                <a:gd name="T54" fmla="*/ 36 w 1982"/>
                <a:gd name="T55" fmla="*/ 1042 h 1354"/>
                <a:gd name="T56" fmla="*/ 76 w 1982"/>
                <a:gd name="T57" fmla="*/ 957 h 1354"/>
                <a:gd name="T58" fmla="*/ 120 w 1982"/>
                <a:gd name="T59" fmla="*/ 877 h 1354"/>
                <a:gd name="T60" fmla="*/ 167 w 1982"/>
                <a:gd name="T61" fmla="*/ 798 h 1354"/>
                <a:gd name="T62" fmla="*/ 216 w 1982"/>
                <a:gd name="T63" fmla="*/ 724 h 1354"/>
                <a:gd name="T64" fmla="*/ 271 w 1982"/>
                <a:gd name="T65" fmla="*/ 652 h 1354"/>
                <a:gd name="T66" fmla="*/ 328 w 1982"/>
                <a:gd name="T67" fmla="*/ 582 h 1354"/>
                <a:gd name="T68" fmla="*/ 388 w 1982"/>
                <a:gd name="T69" fmla="*/ 518 h 1354"/>
                <a:gd name="T70" fmla="*/ 454 w 1982"/>
                <a:gd name="T71" fmla="*/ 456 h 1354"/>
                <a:gd name="T72" fmla="*/ 522 w 1982"/>
                <a:gd name="T73" fmla="*/ 397 h 1354"/>
                <a:gd name="T74" fmla="*/ 592 w 1982"/>
                <a:gd name="T75" fmla="*/ 342 h 1354"/>
                <a:gd name="T76" fmla="*/ 668 w 1982"/>
                <a:gd name="T77" fmla="*/ 291 h 1354"/>
                <a:gd name="T78" fmla="*/ 747 w 1982"/>
                <a:gd name="T79" fmla="*/ 242 h 1354"/>
                <a:gd name="T80" fmla="*/ 829 w 1982"/>
                <a:gd name="T81" fmla="*/ 197 h 1354"/>
                <a:gd name="T82" fmla="*/ 914 w 1982"/>
                <a:gd name="T83" fmla="*/ 157 h 1354"/>
                <a:gd name="T84" fmla="*/ 1003 w 1982"/>
                <a:gd name="T85" fmla="*/ 119 h 1354"/>
                <a:gd name="T86" fmla="*/ 1065 w 1982"/>
                <a:gd name="T87" fmla="*/ 96 h 1354"/>
                <a:gd name="T88" fmla="*/ 1199 w 1982"/>
                <a:gd name="T89" fmla="*/ 55 h 1354"/>
                <a:gd name="T90" fmla="*/ 1341 w 1982"/>
                <a:gd name="T91" fmla="*/ 25 h 1354"/>
                <a:gd name="T92" fmla="*/ 1489 w 1982"/>
                <a:gd name="T93" fmla="*/ 6 h 1354"/>
                <a:gd name="T94" fmla="*/ 1610 w 1982"/>
                <a:gd name="T95" fmla="*/ 0 h 1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82" h="1354">
                  <a:moveTo>
                    <a:pt x="1610" y="0"/>
                  </a:moveTo>
                  <a:lnTo>
                    <a:pt x="1610" y="0"/>
                  </a:lnTo>
                  <a:lnTo>
                    <a:pt x="1702" y="98"/>
                  </a:lnTo>
                  <a:lnTo>
                    <a:pt x="1797" y="195"/>
                  </a:lnTo>
                  <a:lnTo>
                    <a:pt x="1890" y="291"/>
                  </a:lnTo>
                  <a:lnTo>
                    <a:pt x="1982" y="389"/>
                  </a:lnTo>
                  <a:lnTo>
                    <a:pt x="1982" y="389"/>
                  </a:lnTo>
                  <a:lnTo>
                    <a:pt x="1903" y="465"/>
                  </a:lnTo>
                  <a:lnTo>
                    <a:pt x="1825" y="541"/>
                  </a:lnTo>
                  <a:lnTo>
                    <a:pt x="1746" y="618"/>
                  </a:lnTo>
                  <a:lnTo>
                    <a:pt x="1665" y="696"/>
                  </a:lnTo>
                  <a:lnTo>
                    <a:pt x="1665" y="696"/>
                  </a:lnTo>
                  <a:lnTo>
                    <a:pt x="1640" y="720"/>
                  </a:lnTo>
                  <a:lnTo>
                    <a:pt x="1627" y="732"/>
                  </a:lnTo>
                  <a:lnTo>
                    <a:pt x="1619" y="737"/>
                  </a:lnTo>
                  <a:lnTo>
                    <a:pt x="1619" y="737"/>
                  </a:lnTo>
                  <a:lnTo>
                    <a:pt x="1608" y="739"/>
                  </a:lnTo>
                  <a:lnTo>
                    <a:pt x="1587" y="741"/>
                  </a:lnTo>
                  <a:lnTo>
                    <a:pt x="1538" y="745"/>
                  </a:lnTo>
                  <a:lnTo>
                    <a:pt x="1538" y="745"/>
                  </a:lnTo>
                  <a:lnTo>
                    <a:pt x="1502" y="747"/>
                  </a:lnTo>
                  <a:lnTo>
                    <a:pt x="1468" y="752"/>
                  </a:lnTo>
                  <a:lnTo>
                    <a:pt x="1434" y="758"/>
                  </a:lnTo>
                  <a:lnTo>
                    <a:pt x="1402" y="764"/>
                  </a:lnTo>
                  <a:lnTo>
                    <a:pt x="1368" y="773"/>
                  </a:lnTo>
                  <a:lnTo>
                    <a:pt x="1336" y="781"/>
                  </a:lnTo>
                  <a:lnTo>
                    <a:pt x="1303" y="792"/>
                  </a:lnTo>
                  <a:lnTo>
                    <a:pt x="1271" y="803"/>
                  </a:lnTo>
                  <a:lnTo>
                    <a:pt x="1211" y="830"/>
                  </a:lnTo>
                  <a:lnTo>
                    <a:pt x="1152" y="858"/>
                  </a:lnTo>
                  <a:lnTo>
                    <a:pt x="1097" y="890"/>
                  </a:lnTo>
                  <a:lnTo>
                    <a:pt x="1046" y="923"/>
                  </a:lnTo>
                  <a:lnTo>
                    <a:pt x="1046" y="923"/>
                  </a:lnTo>
                  <a:lnTo>
                    <a:pt x="1020" y="943"/>
                  </a:lnTo>
                  <a:lnTo>
                    <a:pt x="991" y="964"/>
                  </a:lnTo>
                  <a:lnTo>
                    <a:pt x="965" y="987"/>
                  </a:lnTo>
                  <a:lnTo>
                    <a:pt x="940" y="1010"/>
                  </a:lnTo>
                  <a:lnTo>
                    <a:pt x="916" y="1032"/>
                  </a:lnTo>
                  <a:lnTo>
                    <a:pt x="893" y="1057"/>
                  </a:lnTo>
                  <a:lnTo>
                    <a:pt x="870" y="1083"/>
                  </a:lnTo>
                  <a:lnTo>
                    <a:pt x="848" y="1108"/>
                  </a:lnTo>
                  <a:lnTo>
                    <a:pt x="827" y="1136"/>
                  </a:lnTo>
                  <a:lnTo>
                    <a:pt x="808" y="1163"/>
                  </a:lnTo>
                  <a:lnTo>
                    <a:pt x="787" y="1193"/>
                  </a:lnTo>
                  <a:lnTo>
                    <a:pt x="768" y="1223"/>
                  </a:lnTo>
                  <a:lnTo>
                    <a:pt x="751" y="1253"/>
                  </a:lnTo>
                  <a:lnTo>
                    <a:pt x="734" y="1286"/>
                  </a:lnTo>
                  <a:lnTo>
                    <a:pt x="702" y="1354"/>
                  </a:lnTo>
                  <a:lnTo>
                    <a:pt x="702" y="1354"/>
                  </a:lnTo>
                  <a:lnTo>
                    <a:pt x="590" y="1131"/>
                  </a:lnTo>
                  <a:lnTo>
                    <a:pt x="475" y="896"/>
                  </a:lnTo>
                  <a:lnTo>
                    <a:pt x="475" y="896"/>
                  </a:lnTo>
                  <a:lnTo>
                    <a:pt x="233" y="1013"/>
                  </a:lnTo>
                  <a:lnTo>
                    <a:pt x="0" y="1129"/>
                  </a:lnTo>
                  <a:lnTo>
                    <a:pt x="0" y="1129"/>
                  </a:lnTo>
                  <a:lnTo>
                    <a:pt x="36" y="1042"/>
                  </a:lnTo>
                  <a:lnTo>
                    <a:pt x="55" y="998"/>
                  </a:lnTo>
                  <a:lnTo>
                    <a:pt x="76" y="957"/>
                  </a:lnTo>
                  <a:lnTo>
                    <a:pt x="97" y="917"/>
                  </a:lnTo>
                  <a:lnTo>
                    <a:pt x="120" y="877"/>
                  </a:lnTo>
                  <a:lnTo>
                    <a:pt x="142" y="838"/>
                  </a:lnTo>
                  <a:lnTo>
                    <a:pt x="167" y="798"/>
                  </a:lnTo>
                  <a:lnTo>
                    <a:pt x="191" y="760"/>
                  </a:lnTo>
                  <a:lnTo>
                    <a:pt x="216" y="724"/>
                  </a:lnTo>
                  <a:lnTo>
                    <a:pt x="242" y="686"/>
                  </a:lnTo>
                  <a:lnTo>
                    <a:pt x="271" y="652"/>
                  </a:lnTo>
                  <a:lnTo>
                    <a:pt x="299" y="616"/>
                  </a:lnTo>
                  <a:lnTo>
                    <a:pt x="328" y="582"/>
                  </a:lnTo>
                  <a:lnTo>
                    <a:pt x="358" y="550"/>
                  </a:lnTo>
                  <a:lnTo>
                    <a:pt x="388" y="518"/>
                  </a:lnTo>
                  <a:lnTo>
                    <a:pt x="420" y="486"/>
                  </a:lnTo>
                  <a:lnTo>
                    <a:pt x="454" y="456"/>
                  </a:lnTo>
                  <a:lnTo>
                    <a:pt x="486" y="425"/>
                  </a:lnTo>
                  <a:lnTo>
                    <a:pt x="522" y="397"/>
                  </a:lnTo>
                  <a:lnTo>
                    <a:pt x="556" y="369"/>
                  </a:lnTo>
                  <a:lnTo>
                    <a:pt x="592" y="342"/>
                  </a:lnTo>
                  <a:lnTo>
                    <a:pt x="630" y="316"/>
                  </a:lnTo>
                  <a:lnTo>
                    <a:pt x="668" y="291"/>
                  </a:lnTo>
                  <a:lnTo>
                    <a:pt x="708" y="267"/>
                  </a:lnTo>
                  <a:lnTo>
                    <a:pt x="747" y="242"/>
                  </a:lnTo>
                  <a:lnTo>
                    <a:pt x="787" y="219"/>
                  </a:lnTo>
                  <a:lnTo>
                    <a:pt x="829" y="197"/>
                  </a:lnTo>
                  <a:lnTo>
                    <a:pt x="870" y="176"/>
                  </a:lnTo>
                  <a:lnTo>
                    <a:pt x="914" y="157"/>
                  </a:lnTo>
                  <a:lnTo>
                    <a:pt x="959" y="138"/>
                  </a:lnTo>
                  <a:lnTo>
                    <a:pt x="1003" y="119"/>
                  </a:lnTo>
                  <a:lnTo>
                    <a:pt x="1003" y="119"/>
                  </a:lnTo>
                  <a:lnTo>
                    <a:pt x="1065" y="96"/>
                  </a:lnTo>
                  <a:lnTo>
                    <a:pt x="1131" y="74"/>
                  </a:lnTo>
                  <a:lnTo>
                    <a:pt x="1199" y="55"/>
                  </a:lnTo>
                  <a:lnTo>
                    <a:pt x="1269" y="38"/>
                  </a:lnTo>
                  <a:lnTo>
                    <a:pt x="1341" y="25"/>
                  </a:lnTo>
                  <a:lnTo>
                    <a:pt x="1415" y="13"/>
                  </a:lnTo>
                  <a:lnTo>
                    <a:pt x="1489" y="6"/>
                  </a:lnTo>
                  <a:lnTo>
                    <a:pt x="1566" y="2"/>
                  </a:lnTo>
                  <a:lnTo>
                    <a:pt x="1610" y="0"/>
                  </a:lnTo>
                  <a:close/>
                </a:path>
              </a:pathLst>
            </a:custGeom>
            <a:grpFill/>
            <a:ln w="25400">
              <a:noFill/>
            </a:ln>
            <a:scene3d>
              <a:camera prst="orthographicFront">
                <a:rot lat="0" lon="0" rev="0"/>
              </a:camera>
              <a:lightRig rig="threePt" dir="t"/>
            </a:scene3d>
            <a:sp3d>
              <a:bevelT/>
              <a:bevelB/>
            </a:sp3d>
          </p:spPr>
          <p:txBody>
            <a:bodyPr vert="horz" wrap="square" lIns="68580" tIns="34290" rIns="68580" bIns="34290" numCol="1" anchor="t" anchorCtr="0" compatLnSpc="1">
              <a:prstTxWarp prst="textNoShape">
                <a:avLst/>
              </a:prstTxWarp>
            </a:bodyPr>
            <a:lstStyle/>
            <a:p>
              <a:pPr>
                <a:defRPr/>
              </a:pPr>
              <a:endParaRPr lang="en-US" sz="1200" kern="0">
                <a:solidFill>
                  <a:schemeClr val="tx2"/>
                </a:solidFill>
              </a:endParaRPr>
            </a:p>
          </p:txBody>
        </p:sp>
      </p:grpSp>
      <p:sp>
        <p:nvSpPr>
          <p:cNvPr id="9" name="Rectangle 8">
            <a:extLst>
              <a:ext uri="{FF2B5EF4-FFF2-40B4-BE49-F238E27FC236}">
                <a16:creationId xmlns:a16="http://schemas.microsoft.com/office/drawing/2014/main" id="{530F8979-9F06-49EE-A125-BB6DA452318C}"/>
              </a:ext>
            </a:extLst>
          </p:cNvPr>
          <p:cNvSpPr/>
          <p:nvPr/>
        </p:nvSpPr>
        <p:spPr>
          <a:xfrm>
            <a:off x="4495107" y="722013"/>
            <a:ext cx="3124893" cy="646331"/>
          </a:xfrm>
          <a:prstGeom prst="rect">
            <a:avLst/>
          </a:prstGeom>
        </p:spPr>
        <p:txBody>
          <a:bodyPr wrap="square">
            <a:spAutoFit/>
          </a:bodyPr>
          <a:lstStyle/>
          <a:p>
            <a:pPr algn="ctr"/>
            <a:r>
              <a:rPr lang="en-US" sz="1200" dirty="0">
                <a:solidFill>
                  <a:schemeClr val="tx2"/>
                </a:solidFill>
                <a:cs typeface="96 Sans"/>
              </a:rPr>
              <a:t>We are a data driven organization and use data to power segmentation, customer experience and our decision making</a:t>
            </a:r>
            <a:endParaRPr lang="en-US" sz="1200" dirty="0">
              <a:solidFill>
                <a:schemeClr val="tx2"/>
              </a:solidFill>
            </a:endParaRPr>
          </a:p>
        </p:txBody>
      </p:sp>
      <p:sp>
        <p:nvSpPr>
          <p:cNvPr id="11" name="Rectangle 10">
            <a:extLst>
              <a:ext uri="{FF2B5EF4-FFF2-40B4-BE49-F238E27FC236}">
                <a16:creationId xmlns:a16="http://schemas.microsoft.com/office/drawing/2014/main" id="{14258D7D-681E-4247-8E3F-27FE9D4A3F1F}"/>
              </a:ext>
            </a:extLst>
          </p:cNvPr>
          <p:cNvSpPr/>
          <p:nvPr/>
        </p:nvSpPr>
        <p:spPr>
          <a:xfrm>
            <a:off x="8691077" y="3130329"/>
            <a:ext cx="2223186" cy="830997"/>
          </a:xfrm>
          <a:prstGeom prst="rect">
            <a:avLst/>
          </a:prstGeom>
        </p:spPr>
        <p:txBody>
          <a:bodyPr wrap="square">
            <a:spAutoFit/>
          </a:bodyPr>
          <a:lstStyle/>
          <a:p>
            <a:r>
              <a:rPr lang="en-US" sz="1200" dirty="0">
                <a:solidFill>
                  <a:schemeClr val="tx2"/>
                </a:solidFill>
                <a:cs typeface="96 Sans"/>
              </a:rPr>
              <a:t>We gather internal and external data and make it accessible </a:t>
            </a:r>
          </a:p>
          <a:p>
            <a:r>
              <a:rPr lang="en-US" sz="1200" dirty="0">
                <a:solidFill>
                  <a:srgbClr val="037CB9"/>
                </a:solidFill>
                <a:cs typeface="96 Sans"/>
              </a:rPr>
              <a:t>#FreeTheData</a:t>
            </a:r>
            <a:endParaRPr lang="en-US" sz="1200" dirty="0">
              <a:solidFill>
                <a:srgbClr val="037CB9"/>
              </a:solidFill>
            </a:endParaRPr>
          </a:p>
        </p:txBody>
      </p:sp>
      <p:sp>
        <p:nvSpPr>
          <p:cNvPr id="12" name="Rectangle 11">
            <a:extLst>
              <a:ext uri="{FF2B5EF4-FFF2-40B4-BE49-F238E27FC236}">
                <a16:creationId xmlns:a16="http://schemas.microsoft.com/office/drawing/2014/main" id="{D19E308A-130E-4271-B85C-EB90675B0EB5}"/>
              </a:ext>
            </a:extLst>
          </p:cNvPr>
          <p:cNvSpPr/>
          <p:nvPr/>
        </p:nvSpPr>
        <p:spPr>
          <a:xfrm>
            <a:off x="7882837" y="5675278"/>
            <a:ext cx="2470906" cy="646331"/>
          </a:xfrm>
          <a:prstGeom prst="rect">
            <a:avLst/>
          </a:prstGeom>
        </p:spPr>
        <p:txBody>
          <a:bodyPr wrap="square">
            <a:spAutoFit/>
          </a:bodyPr>
          <a:lstStyle/>
          <a:p>
            <a:r>
              <a:rPr lang="en-US" sz="1200" dirty="0">
                <a:solidFill>
                  <a:schemeClr val="tx2"/>
                </a:solidFill>
                <a:cs typeface="96 Sans"/>
              </a:rPr>
              <a:t>We have a talented analytical community and leaders who ask insightful questions of the data</a:t>
            </a:r>
            <a:endParaRPr lang="en-US" sz="1200" dirty="0">
              <a:solidFill>
                <a:schemeClr val="tx2"/>
              </a:solidFill>
            </a:endParaRPr>
          </a:p>
        </p:txBody>
      </p:sp>
      <p:sp>
        <p:nvSpPr>
          <p:cNvPr id="13" name="Rectangle 12">
            <a:extLst>
              <a:ext uri="{FF2B5EF4-FFF2-40B4-BE49-F238E27FC236}">
                <a16:creationId xmlns:a16="http://schemas.microsoft.com/office/drawing/2014/main" id="{3D2EE605-4C45-437F-9D3A-2711A7A82F4D}"/>
              </a:ext>
            </a:extLst>
          </p:cNvPr>
          <p:cNvSpPr/>
          <p:nvPr/>
        </p:nvSpPr>
        <p:spPr>
          <a:xfrm>
            <a:off x="2093843" y="5368871"/>
            <a:ext cx="2126653" cy="461665"/>
          </a:xfrm>
          <a:prstGeom prst="rect">
            <a:avLst/>
          </a:prstGeom>
        </p:spPr>
        <p:txBody>
          <a:bodyPr wrap="square">
            <a:spAutoFit/>
          </a:bodyPr>
          <a:lstStyle/>
          <a:p>
            <a:pPr algn="r"/>
            <a:r>
              <a:rPr lang="en-US" sz="1200" dirty="0">
                <a:solidFill>
                  <a:schemeClr val="tx2"/>
                </a:solidFill>
                <a:cs typeface="96 Sans"/>
              </a:rPr>
              <a:t>Insights lead to more products and better services</a:t>
            </a:r>
            <a:endParaRPr lang="en-US" sz="1200" dirty="0">
              <a:solidFill>
                <a:schemeClr val="tx2"/>
              </a:solidFill>
            </a:endParaRPr>
          </a:p>
        </p:txBody>
      </p:sp>
      <p:sp>
        <p:nvSpPr>
          <p:cNvPr id="14" name="Rectangle 13">
            <a:extLst>
              <a:ext uri="{FF2B5EF4-FFF2-40B4-BE49-F238E27FC236}">
                <a16:creationId xmlns:a16="http://schemas.microsoft.com/office/drawing/2014/main" id="{DCEA2F00-B943-4E7B-8229-F84E64598810}"/>
              </a:ext>
            </a:extLst>
          </p:cNvPr>
          <p:cNvSpPr/>
          <p:nvPr/>
        </p:nvSpPr>
        <p:spPr>
          <a:xfrm>
            <a:off x="1475562" y="2293880"/>
            <a:ext cx="2310314" cy="646331"/>
          </a:xfrm>
          <a:prstGeom prst="rect">
            <a:avLst/>
          </a:prstGeom>
        </p:spPr>
        <p:txBody>
          <a:bodyPr wrap="square">
            <a:spAutoFit/>
          </a:bodyPr>
          <a:lstStyle/>
          <a:p>
            <a:pPr algn="r"/>
            <a:r>
              <a:rPr lang="en-US" sz="1200" dirty="0">
                <a:solidFill>
                  <a:schemeClr val="tx2"/>
                </a:solidFill>
                <a:cs typeface="96 Sans"/>
              </a:rPr>
              <a:t>Better products and services lead to our growth and scale which brings more data</a:t>
            </a:r>
            <a:endParaRPr lang="en-US" sz="1200" dirty="0">
              <a:solidFill>
                <a:schemeClr val="tx2"/>
              </a:solidFill>
            </a:endParaRPr>
          </a:p>
        </p:txBody>
      </p:sp>
      <p:sp>
        <p:nvSpPr>
          <p:cNvPr id="15" name="Oval 14">
            <a:extLst>
              <a:ext uri="{FF2B5EF4-FFF2-40B4-BE49-F238E27FC236}">
                <a16:creationId xmlns:a16="http://schemas.microsoft.com/office/drawing/2014/main" id="{2BE294B4-B98B-4E86-9945-9C570D7DFB4B}"/>
              </a:ext>
            </a:extLst>
          </p:cNvPr>
          <p:cNvSpPr/>
          <p:nvPr/>
        </p:nvSpPr>
        <p:spPr>
          <a:xfrm>
            <a:off x="7990111" y="3416712"/>
            <a:ext cx="332510" cy="340014"/>
          </a:xfrm>
          <a:prstGeom prst="ellipse">
            <a:avLst/>
          </a:prstGeom>
          <a:solidFill>
            <a:srgbClr val="52C3CB"/>
          </a:solidFill>
          <a:ln w="12700" cap="flat" cmpd="sng" algn="ctr">
            <a:solidFill>
              <a:srgbClr val="4472C4">
                <a:shade val="50000"/>
              </a:srgbClr>
            </a:solidFill>
            <a:prstDash val="solid"/>
            <a:miter lim="800000"/>
          </a:ln>
          <a:effectLst/>
        </p:spPr>
        <p:txBody>
          <a:bodyPr rtlCol="0" anchor="ctr"/>
          <a:lstStyle/>
          <a:p>
            <a:pPr algn="ctr">
              <a:defRPr/>
            </a:pPr>
            <a:r>
              <a:rPr lang="en-US" sz="1200" kern="0">
                <a:solidFill>
                  <a:schemeClr val="tx2"/>
                </a:solidFill>
              </a:rPr>
              <a:t>2</a:t>
            </a:r>
          </a:p>
        </p:txBody>
      </p:sp>
      <p:sp>
        <p:nvSpPr>
          <p:cNvPr id="16" name="Oval 15">
            <a:extLst>
              <a:ext uri="{FF2B5EF4-FFF2-40B4-BE49-F238E27FC236}">
                <a16:creationId xmlns:a16="http://schemas.microsoft.com/office/drawing/2014/main" id="{BBEE153E-A20F-41F4-9E10-0FBF5CE6B403}"/>
              </a:ext>
            </a:extLst>
          </p:cNvPr>
          <p:cNvSpPr/>
          <p:nvPr/>
        </p:nvSpPr>
        <p:spPr>
          <a:xfrm>
            <a:off x="6791722" y="5421348"/>
            <a:ext cx="332510" cy="340014"/>
          </a:xfrm>
          <a:prstGeom prst="ellipse">
            <a:avLst/>
          </a:prstGeom>
          <a:solidFill>
            <a:srgbClr val="52C3CB"/>
          </a:solidFill>
          <a:ln w="12700" cap="flat" cmpd="sng" algn="ctr">
            <a:solidFill>
              <a:srgbClr val="4472C4">
                <a:shade val="50000"/>
              </a:srgbClr>
            </a:solidFill>
            <a:prstDash val="solid"/>
            <a:miter lim="800000"/>
          </a:ln>
          <a:effectLst/>
        </p:spPr>
        <p:txBody>
          <a:bodyPr rtlCol="0" anchor="ctr"/>
          <a:lstStyle/>
          <a:p>
            <a:pPr algn="ctr">
              <a:defRPr/>
            </a:pPr>
            <a:r>
              <a:rPr lang="en-US" sz="1200" kern="0">
                <a:solidFill>
                  <a:schemeClr val="tx2"/>
                </a:solidFill>
              </a:rPr>
              <a:t>3</a:t>
            </a:r>
          </a:p>
        </p:txBody>
      </p:sp>
      <p:sp>
        <p:nvSpPr>
          <p:cNvPr id="17" name="Oval 16">
            <a:extLst>
              <a:ext uri="{FF2B5EF4-FFF2-40B4-BE49-F238E27FC236}">
                <a16:creationId xmlns:a16="http://schemas.microsoft.com/office/drawing/2014/main" id="{A33FDC31-80DD-456E-84AF-B476B67D7F63}"/>
              </a:ext>
            </a:extLst>
          </p:cNvPr>
          <p:cNvSpPr/>
          <p:nvPr/>
        </p:nvSpPr>
        <p:spPr>
          <a:xfrm>
            <a:off x="4545450" y="4949534"/>
            <a:ext cx="332510" cy="340014"/>
          </a:xfrm>
          <a:prstGeom prst="ellipse">
            <a:avLst/>
          </a:prstGeom>
          <a:solidFill>
            <a:srgbClr val="52C3CB"/>
          </a:solidFill>
          <a:ln w="12700" cap="flat" cmpd="sng" algn="ctr">
            <a:solidFill>
              <a:srgbClr val="4472C4">
                <a:shade val="50000"/>
              </a:srgbClr>
            </a:solidFill>
            <a:prstDash val="solid"/>
            <a:miter lim="800000"/>
          </a:ln>
          <a:effectLst/>
        </p:spPr>
        <p:txBody>
          <a:bodyPr rtlCol="0" anchor="ctr"/>
          <a:lstStyle/>
          <a:p>
            <a:pPr algn="ctr">
              <a:defRPr/>
            </a:pPr>
            <a:r>
              <a:rPr lang="en-US" sz="1200" kern="0">
                <a:solidFill>
                  <a:schemeClr val="tx2"/>
                </a:solidFill>
              </a:rPr>
              <a:t>4</a:t>
            </a:r>
          </a:p>
        </p:txBody>
      </p:sp>
      <p:sp>
        <p:nvSpPr>
          <p:cNvPr id="18" name="Oval 17">
            <a:extLst>
              <a:ext uri="{FF2B5EF4-FFF2-40B4-BE49-F238E27FC236}">
                <a16:creationId xmlns:a16="http://schemas.microsoft.com/office/drawing/2014/main" id="{3C46F0CF-459F-434B-B847-36D51B6B5DA5}"/>
              </a:ext>
            </a:extLst>
          </p:cNvPr>
          <p:cNvSpPr/>
          <p:nvPr/>
        </p:nvSpPr>
        <p:spPr>
          <a:xfrm>
            <a:off x="4135033" y="2751880"/>
            <a:ext cx="332510" cy="340014"/>
          </a:xfrm>
          <a:prstGeom prst="ellipse">
            <a:avLst/>
          </a:prstGeom>
          <a:solidFill>
            <a:srgbClr val="52C3CB"/>
          </a:solidFill>
          <a:ln w="12700" cap="flat" cmpd="sng" algn="ctr">
            <a:solidFill>
              <a:srgbClr val="4472C4">
                <a:shade val="50000"/>
              </a:srgbClr>
            </a:solidFill>
            <a:prstDash val="solid"/>
            <a:miter lim="800000"/>
          </a:ln>
          <a:effectLst/>
        </p:spPr>
        <p:txBody>
          <a:bodyPr rtlCol="0" anchor="ctr"/>
          <a:lstStyle/>
          <a:p>
            <a:pPr algn="ctr">
              <a:defRPr/>
            </a:pPr>
            <a:r>
              <a:rPr lang="en-US" sz="1200" kern="0">
                <a:solidFill>
                  <a:schemeClr val="tx2"/>
                </a:solidFill>
              </a:rPr>
              <a:t>5</a:t>
            </a:r>
          </a:p>
        </p:txBody>
      </p:sp>
      <p:sp>
        <p:nvSpPr>
          <p:cNvPr id="19" name="Oval 18">
            <a:extLst>
              <a:ext uri="{FF2B5EF4-FFF2-40B4-BE49-F238E27FC236}">
                <a16:creationId xmlns:a16="http://schemas.microsoft.com/office/drawing/2014/main" id="{35A4A2D5-6209-4430-BB79-EA9A9137E5E2}"/>
              </a:ext>
            </a:extLst>
          </p:cNvPr>
          <p:cNvSpPr/>
          <p:nvPr/>
        </p:nvSpPr>
        <p:spPr>
          <a:xfrm>
            <a:off x="6238476" y="1770933"/>
            <a:ext cx="332510" cy="340014"/>
          </a:xfrm>
          <a:prstGeom prst="ellipse">
            <a:avLst/>
          </a:prstGeom>
          <a:solidFill>
            <a:srgbClr val="52C3CB"/>
          </a:solidFill>
          <a:ln w="12700" cap="flat" cmpd="sng" algn="ctr">
            <a:solidFill>
              <a:srgbClr val="4472C4">
                <a:shade val="50000"/>
              </a:srgbClr>
            </a:solidFill>
            <a:prstDash val="solid"/>
            <a:miter lim="800000"/>
          </a:ln>
          <a:effectLst/>
        </p:spPr>
        <p:txBody>
          <a:bodyPr rtlCol="0" anchor="ctr"/>
          <a:lstStyle/>
          <a:p>
            <a:pPr algn="ctr">
              <a:defRPr/>
            </a:pPr>
            <a:r>
              <a:rPr lang="en-US" sz="1200" kern="0" dirty="0">
                <a:solidFill>
                  <a:schemeClr val="tx2"/>
                </a:solidFill>
              </a:rPr>
              <a:t>1</a:t>
            </a:r>
          </a:p>
        </p:txBody>
      </p:sp>
      <p:pic>
        <p:nvPicPr>
          <p:cNvPr id="20" name="Picture 19">
            <a:extLst>
              <a:ext uri="{FF2B5EF4-FFF2-40B4-BE49-F238E27FC236}">
                <a16:creationId xmlns:a16="http://schemas.microsoft.com/office/drawing/2014/main" id="{694AEFF1-FDCE-4C13-B97F-58F4C8BBF7C7}"/>
              </a:ext>
            </a:extLst>
          </p:cNvPr>
          <p:cNvPicPr>
            <a:picLocks noChangeAspect="1"/>
          </p:cNvPicPr>
          <p:nvPr/>
        </p:nvPicPr>
        <p:blipFill>
          <a:blip r:embed="rId3">
            <a:duotone>
              <a:prstClr val="black"/>
              <a:schemeClr val="accent6">
                <a:tint val="45000"/>
                <a:satMod val="400000"/>
              </a:schemeClr>
            </a:duotone>
          </a:blip>
          <a:stretch>
            <a:fillRect/>
          </a:stretch>
        </p:blipFill>
        <p:spPr>
          <a:xfrm>
            <a:off x="5204642" y="2855858"/>
            <a:ext cx="1793305" cy="1793305"/>
          </a:xfrm>
          <a:prstGeom prst="rect">
            <a:avLst/>
          </a:prstGeom>
        </p:spPr>
      </p:pic>
      <p:sp>
        <p:nvSpPr>
          <p:cNvPr id="10" name="Title 9">
            <a:extLst>
              <a:ext uri="{FF2B5EF4-FFF2-40B4-BE49-F238E27FC236}">
                <a16:creationId xmlns:a16="http://schemas.microsoft.com/office/drawing/2014/main" id="{1DA4CD3C-9A91-616A-FB83-60DE3A3F5DD9}"/>
              </a:ext>
            </a:extLst>
          </p:cNvPr>
          <p:cNvSpPr>
            <a:spLocks noGrp="1"/>
          </p:cNvSpPr>
          <p:nvPr>
            <p:ph type="title"/>
          </p:nvPr>
        </p:nvSpPr>
        <p:spPr/>
        <p:txBody>
          <a:bodyPr/>
          <a:lstStyle/>
          <a:p>
            <a:r>
              <a:rPr lang="en-US" b="1" kern="0" dirty="0"/>
              <a:t>At Progressive, we have “Reverence for Data”</a:t>
            </a:r>
            <a:endParaRPr lang="en-US" b="1" dirty="0"/>
          </a:p>
        </p:txBody>
      </p:sp>
    </p:spTree>
    <p:extLst>
      <p:ext uri="{BB962C8B-B14F-4D97-AF65-F5344CB8AC3E}">
        <p14:creationId xmlns:p14="http://schemas.microsoft.com/office/powerpoint/2010/main" val="3519632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CCF771E-3CAE-99A1-1AEE-E9534732967E}"/>
              </a:ext>
            </a:extLst>
          </p:cNvPr>
          <p:cNvSpPr>
            <a:spLocks noGrp="1"/>
          </p:cNvSpPr>
          <p:nvPr>
            <p:ph type="title"/>
          </p:nvPr>
        </p:nvSpPr>
        <p:spPr/>
        <p:txBody>
          <a:bodyPr/>
          <a:lstStyle/>
          <a:p>
            <a:r>
              <a:rPr lang="en-US" dirty="0"/>
              <a:t>Treat Data as an Asset</a:t>
            </a:r>
          </a:p>
        </p:txBody>
      </p:sp>
      <p:sp>
        <p:nvSpPr>
          <p:cNvPr id="4" name="Content Placeholder 3">
            <a:extLst>
              <a:ext uri="{FF2B5EF4-FFF2-40B4-BE49-F238E27FC236}">
                <a16:creationId xmlns:a16="http://schemas.microsoft.com/office/drawing/2014/main" id="{BBA471F4-F498-E3BD-0A37-38BB4EFCC563}"/>
              </a:ext>
            </a:extLst>
          </p:cNvPr>
          <p:cNvSpPr>
            <a:spLocks noGrp="1"/>
          </p:cNvSpPr>
          <p:nvPr>
            <p:ph idx="1"/>
          </p:nvPr>
        </p:nvSpPr>
        <p:spPr>
          <a:xfrm>
            <a:off x="554182" y="822960"/>
            <a:ext cx="11083636" cy="5440680"/>
          </a:xfrm>
        </p:spPr>
        <p:txBody>
          <a:bodyPr>
            <a:normAutofit fontScale="77500" lnSpcReduction="20000"/>
          </a:bodyPr>
          <a:lstStyle/>
          <a:p>
            <a:pPr marL="0" indent="0" algn="l">
              <a:lnSpc>
                <a:spcPct val="120000"/>
              </a:lnSpc>
              <a:buNone/>
            </a:pPr>
            <a:r>
              <a:rPr lang="en-US" b="1" dirty="0">
                <a:solidFill>
                  <a:srgbClr val="0C0C0C"/>
                </a:solidFill>
                <a:effectLst/>
                <a:latin typeface="96 Sans" panose="020C0504020203020204" pitchFamily="34" charset="0"/>
              </a:rPr>
              <a:t>To gain full value of our data</a:t>
            </a:r>
            <a:r>
              <a:rPr lang="en-US" dirty="0">
                <a:solidFill>
                  <a:srgbClr val="0C0C0C"/>
                </a:solidFill>
                <a:effectLst/>
                <a:latin typeface="96 Sans" panose="020C0504020203020204" pitchFamily="34" charset="0"/>
              </a:rPr>
              <a:t>, Progressive must ensure that it is </a:t>
            </a:r>
            <a:r>
              <a:rPr lang="en-US" b="1" dirty="0">
                <a:solidFill>
                  <a:srgbClr val="0C0C0C"/>
                </a:solidFill>
                <a:effectLst/>
                <a:latin typeface="96 Sans" panose="020C0504020203020204" pitchFamily="34" charset="0"/>
              </a:rPr>
              <a:t>understood, tracked, optimized and controlled</a:t>
            </a:r>
            <a:r>
              <a:rPr lang="en-US" dirty="0">
                <a:solidFill>
                  <a:srgbClr val="0C0C0C"/>
                </a:solidFill>
                <a:effectLst/>
                <a:latin typeface="96 Sans" panose="020C0504020203020204" pitchFamily="34" charset="0"/>
              </a:rPr>
              <a:t>. As we move through transformation efforts, we should:</a:t>
            </a:r>
          </a:p>
          <a:p>
            <a:pPr algn="l">
              <a:lnSpc>
                <a:spcPct val="120000"/>
              </a:lnSpc>
              <a:buFont typeface="Arial" panose="020B0604020202020204" pitchFamily="34" charset="0"/>
              <a:buChar char="•"/>
            </a:pPr>
            <a:r>
              <a:rPr lang="en-US" sz="2600" b="0" i="0" dirty="0">
                <a:solidFill>
                  <a:srgbClr val="0C0C0C"/>
                </a:solidFill>
                <a:effectLst/>
                <a:latin typeface="96 Sans" panose="020C0504020203020204" pitchFamily="34" charset="0"/>
              </a:rPr>
              <a:t>Understand our data ecosystem, including </a:t>
            </a:r>
            <a:r>
              <a:rPr lang="en-US" sz="2600" b="1" i="0" dirty="0">
                <a:solidFill>
                  <a:srgbClr val="0C0C0C"/>
                </a:solidFill>
                <a:effectLst/>
                <a:latin typeface="96 Sans" panose="020C0504020203020204" pitchFamily="34" charset="0"/>
              </a:rPr>
              <a:t>where the data resides </a:t>
            </a:r>
            <a:r>
              <a:rPr lang="en-US" sz="2600" b="0" i="0" dirty="0">
                <a:solidFill>
                  <a:srgbClr val="0C0C0C"/>
                </a:solidFill>
                <a:effectLst/>
                <a:latin typeface="96 Sans" panose="020C0504020203020204" pitchFamily="34" charset="0"/>
              </a:rPr>
              <a:t>and </a:t>
            </a:r>
            <a:r>
              <a:rPr lang="en-US" sz="2600" b="1" i="0" dirty="0">
                <a:solidFill>
                  <a:srgbClr val="0C0C0C"/>
                </a:solidFill>
                <a:effectLst/>
                <a:latin typeface="96 Sans" panose="020C0504020203020204" pitchFamily="34" charset="0"/>
              </a:rPr>
              <a:t>how it is transformed and leveraged</a:t>
            </a:r>
            <a:r>
              <a:rPr lang="en-US" sz="2600" b="0" i="0" dirty="0">
                <a:solidFill>
                  <a:srgbClr val="0C0C0C"/>
                </a:solidFill>
                <a:effectLst/>
                <a:latin typeface="96 Sans" panose="020C0504020203020204" pitchFamily="34" charset="0"/>
              </a:rPr>
              <a:t>.</a:t>
            </a:r>
          </a:p>
          <a:p>
            <a:pPr algn="l">
              <a:lnSpc>
                <a:spcPct val="120000"/>
              </a:lnSpc>
              <a:buFont typeface="Arial" panose="020B0604020202020204" pitchFamily="34" charset="0"/>
              <a:buChar char="•"/>
            </a:pPr>
            <a:r>
              <a:rPr lang="en-US" sz="2600" b="0" i="0" dirty="0">
                <a:solidFill>
                  <a:srgbClr val="0C0C0C"/>
                </a:solidFill>
                <a:effectLst/>
                <a:latin typeface="96 Sans" panose="020C0504020203020204" pitchFamily="34" charset="0"/>
              </a:rPr>
              <a:t>Understand the relative value of data within the data pipeline and </a:t>
            </a:r>
            <a:r>
              <a:rPr lang="en-US" sz="2600" b="1" i="0" dirty="0">
                <a:solidFill>
                  <a:srgbClr val="0C0C0C"/>
                </a:solidFill>
                <a:effectLst/>
                <a:latin typeface="96 Sans" panose="020C0504020203020204" pitchFamily="34" charset="0"/>
              </a:rPr>
              <a:t>eliminate data sources that are not needed for business purposes</a:t>
            </a:r>
            <a:r>
              <a:rPr lang="en-US" sz="2600" b="0" i="0" dirty="0">
                <a:solidFill>
                  <a:srgbClr val="0C0C0C"/>
                </a:solidFill>
                <a:effectLst/>
                <a:latin typeface="96 Sans" panose="020C0504020203020204" pitchFamily="34" charset="0"/>
              </a:rPr>
              <a:t>.</a:t>
            </a:r>
          </a:p>
          <a:p>
            <a:pPr algn="l">
              <a:lnSpc>
                <a:spcPct val="120000"/>
              </a:lnSpc>
              <a:buFont typeface="Arial" panose="020B0604020202020204" pitchFamily="34" charset="0"/>
              <a:buChar char="•"/>
            </a:pPr>
            <a:r>
              <a:rPr lang="en-US" sz="2600" b="1" i="0" dirty="0">
                <a:solidFill>
                  <a:srgbClr val="0C0C0C"/>
                </a:solidFill>
                <a:effectLst/>
                <a:latin typeface="96 Sans" panose="020C0504020203020204" pitchFamily="34" charset="0"/>
              </a:rPr>
              <a:t>Know what data is being acquired </a:t>
            </a:r>
            <a:r>
              <a:rPr lang="en-US" sz="2600" b="0" i="0" dirty="0">
                <a:solidFill>
                  <a:srgbClr val="0C0C0C"/>
                </a:solidFill>
                <a:effectLst/>
                <a:latin typeface="96 Sans" panose="020C0504020203020204" pitchFamily="34" charset="0"/>
              </a:rPr>
              <a:t>from outside vendors and </a:t>
            </a:r>
            <a:r>
              <a:rPr lang="en-US" sz="2600" b="1" i="0" dirty="0">
                <a:solidFill>
                  <a:srgbClr val="0C0C0C"/>
                </a:solidFill>
                <a:effectLst/>
                <a:latin typeface="96 Sans" panose="020C0504020203020204" pitchFamily="34" charset="0"/>
              </a:rPr>
              <a:t>how it is being used </a:t>
            </a:r>
            <a:r>
              <a:rPr lang="en-US" sz="2600" b="0" i="0" dirty="0">
                <a:solidFill>
                  <a:srgbClr val="0C0C0C"/>
                </a:solidFill>
                <a:effectLst/>
                <a:latin typeface="96 Sans" panose="020C0504020203020204" pitchFamily="34" charset="0"/>
              </a:rPr>
              <a:t>internally.</a:t>
            </a:r>
          </a:p>
          <a:p>
            <a:pPr algn="l">
              <a:lnSpc>
                <a:spcPct val="120000"/>
              </a:lnSpc>
              <a:buFont typeface="Arial" panose="020B0604020202020204" pitchFamily="34" charset="0"/>
              <a:buChar char="•"/>
            </a:pPr>
            <a:r>
              <a:rPr lang="en-US" sz="2600" b="1" i="0" dirty="0">
                <a:solidFill>
                  <a:srgbClr val="0C0C0C"/>
                </a:solidFill>
                <a:effectLst/>
                <a:latin typeface="96 Sans" panose="020C0504020203020204" pitchFamily="34" charset="0"/>
              </a:rPr>
              <a:t>Don’t buy, keep or ask for more data than the organization needs</a:t>
            </a:r>
            <a:r>
              <a:rPr lang="en-US" sz="2600" b="0" i="0" dirty="0">
                <a:solidFill>
                  <a:srgbClr val="0C0C0C"/>
                </a:solidFill>
                <a:effectLst/>
                <a:latin typeface="96 Sans" panose="020C0504020203020204" pitchFamily="34" charset="0"/>
              </a:rPr>
              <a:t>.</a:t>
            </a:r>
          </a:p>
          <a:p>
            <a:pPr algn="l">
              <a:lnSpc>
                <a:spcPct val="120000"/>
              </a:lnSpc>
              <a:buFont typeface="Arial" panose="020B0604020202020204" pitchFamily="34" charset="0"/>
              <a:buChar char="•"/>
            </a:pPr>
            <a:r>
              <a:rPr lang="en-US" sz="2600" b="1" i="0" dirty="0">
                <a:solidFill>
                  <a:srgbClr val="0C0C0C"/>
                </a:solidFill>
                <a:effectLst/>
                <a:latin typeface="96 Sans" panose="020C0504020203020204" pitchFamily="34" charset="0"/>
              </a:rPr>
              <a:t>Eliminate irrelevant, erroneous and duplicative data </a:t>
            </a:r>
            <a:r>
              <a:rPr lang="en-US" sz="2600" b="0" i="0" dirty="0">
                <a:solidFill>
                  <a:srgbClr val="0C0C0C"/>
                </a:solidFill>
                <a:effectLst/>
                <a:latin typeface="96 Sans" panose="020C0504020203020204" pitchFamily="34" charset="0"/>
              </a:rPr>
              <a:t>from the environment, depending on how controlled its environment is.</a:t>
            </a:r>
          </a:p>
          <a:p>
            <a:pPr algn="l">
              <a:lnSpc>
                <a:spcPct val="120000"/>
              </a:lnSpc>
              <a:buFont typeface="Arial" panose="020B0604020202020204" pitchFamily="34" charset="0"/>
              <a:buChar char="•"/>
            </a:pPr>
            <a:r>
              <a:rPr lang="en-US" sz="2600" b="1" i="0" dirty="0">
                <a:solidFill>
                  <a:srgbClr val="0C0C0C"/>
                </a:solidFill>
                <a:effectLst/>
                <a:latin typeface="96 Sans" panose="020C0504020203020204" pitchFamily="34" charset="0"/>
              </a:rPr>
              <a:t>Create a golden source of data </a:t>
            </a:r>
            <a:r>
              <a:rPr lang="en-US" sz="2600" b="0" i="0" dirty="0">
                <a:solidFill>
                  <a:srgbClr val="0C0C0C"/>
                </a:solidFill>
                <a:effectLst/>
                <a:latin typeface="96 Sans" panose="020C0504020203020204" pitchFamily="34" charset="0"/>
              </a:rPr>
              <a:t>across the data ecosystem to ensure accuracy and consistency.</a:t>
            </a:r>
          </a:p>
        </p:txBody>
      </p:sp>
    </p:spTree>
    <p:extLst>
      <p:ext uri="{BB962C8B-B14F-4D97-AF65-F5344CB8AC3E}">
        <p14:creationId xmlns:p14="http://schemas.microsoft.com/office/powerpoint/2010/main" val="51036053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382418B-9C4F-2A41-DE9C-8367EC2F07BE}"/>
              </a:ext>
            </a:extLst>
          </p:cNvPr>
          <p:cNvSpPr>
            <a:spLocks noGrp="1"/>
          </p:cNvSpPr>
          <p:nvPr>
            <p:ph type="title"/>
          </p:nvPr>
        </p:nvSpPr>
        <p:spPr>
          <a:xfrm>
            <a:off x="350874" y="167664"/>
            <a:ext cx="11286944" cy="549257"/>
          </a:xfrm>
        </p:spPr>
        <p:txBody>
          <a:bodyPr/>
          <a:lstStyle/>
          <a:p>
            <a:r>
              <a:rPr lang="en-US" b="1" dirty="0"/>
              <a:t>What is Data Governance?</a:t>
            </a:r>
          </a:p>
        </p:txBody>
      </p:sp>
      <p:sp>
        <p:nvSpPr>
          <p:cNvPr id="5" name="Content Placeholder 4">
            <a:extLst>
              <a:ext uri="{FF2B5EF4-FFF2-40B4-BE49-F238E27FC236}">
                <a16:creationId xmlns:a16="http://schemas.microsoft.com/office/drawing/2014/main" id="{AC5CD83D-8D57-C5C7-134D-866C7A320F97}"/>
              </a:ext>
            </a:extLst>
          </p:cNvPr>
          <p:cNvSpPr>
            <a:spLocks noGrp="1"/>
          </p:cNvSpPr>
          <p:nvPr>
            <p:ph idx="1"/>
          </p:nvPr>
        </p:nvSpPr>
        <p:spPr>
          <a:xfrm>
            <a:off x="554182" y="1212112"/>
            <a:ext cx="11083636" cy="3772242"/>
          </a:xfrm>
        </p:spPr>
        <p:txBody>
          <a:bodyPr/>
          <a:lstStyle/>
          <a:p>
            <a:pPr marL="0" indent="0">
              <a:buNone/>
            </a:pPr>
            <a:r>
              <a:rPr lang="en-US" b="1" i="0" dirty="0">
                <a:solidFill>
                  <a:schemeClr val="accent1">
                    <a:lumMod val="50000"/>
                  </a:schemeClr>
                </a:solidFill>
                <a:effectLst/>
                <a:latin typeface="Google Sans"/>
              </a:rPr>
              <a:t>Simply said….</a:t>
            </a:r>
          </a:p>
          <a:p>
            <a:pPr marL="0" indent="0">
              <a:buNone/>
            </a:pPr>
            <a:endParaRPr lang="en-US" b="0" i="0" dirty="0">
              <a:solidFill>
                <a:srgbClr val="202124"/>
              </a:solidFill>
              <a:effectLst/>
              <a:latin typeface="Google Sans"/>
            </a:endParaRPr>
          </a:p>
          <a:p>
            <a:pPr marL="627063"/>
            <a:r>
              <a:rPr lang="en-US" b="0" i="0" dirty="0">
                <a:solidFill>
                  <a:schemeClr val="accent1">
                    <a:lumMod val="50000"/>
                  </a:schemeClr>
                </a:solidFill>
                <a:effectLst/>
                <a:latin typeface="Google Sans"/>
              </a:rPr>
              <a:t>Data governance is everything you do to ensure data is secure, private, accurate, consistent, available, and usable. </a:t>
            </a:r>
          </a:p>
          <a:p>
            <a:pPr marL="627063"/>
            <a:r>
              <a:rPr lang="en-US" b="0" i="0" dirty="0">
                <a:solidFill>
                  <a:schemeClr val="accent1">
                    <a:lumMod val="50000"/>
                  </a:schemeClr>
                </a:solidFill>
                <a:effectLst/>
                <a:latin typeface="Google Sans"/>
              </a:rPr>
              <a:t>It includes the actions people must take, the processes they must follow, and the technology that supports them throughout the data life cycle.</a:t>
            </a:r>
            <a:endParaRPr lang="en-US" dirty="0">
              <a:solidFill>
                <a:schemeClr val="accent1">
                  <a:lumMod val="50000"/>
                </a:schemeClr>
              </a:solidFill>
            </a:endParaRPr>
          </a:p>
        </p:txBody>
      </p:sp>
    </p:spTree>
    <p:extLst>
      <p:ext uri="{BB962C8B-B14F-4D97-AF65-F5344CB8AC3E}">
        <p14:creationId xmlns:p14="http://schemas.microsoft.com/office/powerpoint/2010/main" val="373723829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C1F7BEF-025E-3C0C-DC3D-D5896F79A8E1}"/>
              </a:ext>
            </a:extLst>
          </p:cNvPr>
          <p:cNvGrpSpPr/>
          <p:nvPr/>
        </p:nvGrpSpPr>
        <p:grpSpPr>
          <a:xfrm>
            <a:off x="0" y="1036300"/>
            <a:ext cx="12039604" cy="3044649"/>
            <a:chOff x="0" y="1036300"/>
            <a:chExt cx="12039604" cy="3044649"/>
          </a:xfrm>
        </p:grpSpPr>
        <p:pic>
          <p:nvPicPr>
            <p:cNvPr id="24" name="Picture 4" descr="Combat, weapon, swords, crossed, sword, battle, war icon">
              <a:extLst>
                <a:ext uri="{FF2B5EF4-FFF2-40B4-BE49-F238E27FC236}">
                  <a16:creationId xmlns:a16="http://schemas.microsoft.com/office/drawing/2014/main" id="{9AD079C0-918E-4216-BB92-95F31861634A}"/>
                </a:ext>
              </a:extLst>
            </p:cNvPr>
            <p:cNvPicPr>
              <a:picLocks noChangeAspect="1" noChangeArrowheads="1"/>
            </p:cNvPicPr>
            <p:nvPr/>
          </p:nvPicPr>
          <p:blipFill>
            <a:blip r:embed="rId3">
              <a:duotone>
                <a:srgbClr val="C0504D">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2002301" y="1378085"/>
              <a:ext cx="1148163" cy="1248416"/>
            </a:xfrm>
            <a:prstGeom prst="rect">
              <a:avLst/>
            </a:prstGeom>
            <a:noFill/>
            <a:extLst>
              <a:ext uri="{909E8E84-426E-40DD-AFC4-6F175D3DCCD1}">
                <a14:hiddenFill xmlns:a14="http://schemas.microsoft.com/office/drawing/2010/main">
                  <a:solidFill>
                    <a:srgbClr val="FFFFFF"/>
                  </a:solidFill>
                </a14:hiddenFill>
              </a:ext>
            </a:extLst>
          </p:spPr>
        </p:pic>
        <p:sp>
          <p:nvSpPr>
            <p:cNvPr id="25" name="Rectangle: Rounded Corners 24">
              <a:extLst>
                <a:ext uri="{FF2B5EF4-FFF2-40B4-BE49-F238E27FC236}">
                  <a16:creationId xmlns:a16="http://schemas.microsoft.com/office/drawing/2014/main" id="{789C4BD9-61BC-45B2-9AE3-27FD5A532DFC}"/>
                </a:ext>
              </a:extLst>
            </p:cNvPr>
            <p:cNvSpPr/>
            <p:nvPr/>
          </p:nvSpPr>
          <p:spPr>
            <a:xfrm>
              <a:off x="1519879" y="2726948"/>
              <a:ext cx="2113007" cy="507295"/>
            </a:xfrm>
            <a:prstGeom prst="roundRect">
              <a:avLst/>
            </a:prstGeom>
            <a:solidFill>
              <a:srgbClr val="C0504D"/>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b="1" i="0" u="none" strike="noStrike" kern="0" cap="none" spc="0" normalizeH="0" baseline="0" noProof="0" dirty="0">
                  <a:ln>
                    <a:noFill/>
                  </a:ln>
                  <a:solidFill>
                    <a:prstClr val="white"/>
                  </a:solidFill>
                  <a:effectLst/>
                  <a:uLnTx/>
                  <a:uFillTx/>
                  <a:latin typeface="+mj-lt"/>
                  <a:ea typeface="+mn-ea"/>
                  <a:cs typeface="+mn-cs"/>
                </a:rPr>
                <a:t>DATA OFFENSE</a:t>
              </a:r>
            </a:p>
          </p:txBody>
        </p:sp>
        <p:grpSp>
          <p:nvGrpSpPr>
            <p:cNvPr id="26" name="Group 25">
              <a:extLst>
                <a:ext uri="{FF2B5EF4-FFF2-40B4-BE49-F238E27FC236}">
                  <a16:creationId xmlns:a16="http://schemas.microsoft.com/office/drawing/2014/main" id="{47B6C726-FBA4-4D6F-A3CF-829E2363156B}"/>
                </a:ext>
              </a:extLst>
            </p:cNvPr>
            <p:cNvGrpSpPr/>
            <p:nvPr/>
          </p:nvGrpSpPr>
          <p:grpSpPr>
            <a:xfrm>
              <a:off x="8406716" y="1036300"/>
              <a:ext cx="2113007" cy="2197943"/>
              <a:chOff x="7451123" y="665057"/>
              <a:chExt cx="2706130" cy="2588861"/>
            </a:xfrm>
          </p:grpSpPr>
          <p:pic>
            <p:nvPicPr>
              <p:cNvPr id="27" name="Picture 6" descr="Shield Icon Images, Stock Photos &amp; Vectors | Shutterstock">
                <a:extLst>
                  <a:ext uri="{FF2B5EF4-FFF2-40B4-BE49-F238E27FC236}">
                    <a16:creationId xmlns:a16="http://schemas.microsoft.com/office/drawing/2014/main" id="{C8F11381-FBFB-4533-8FCE-4FF9F070FCAC}"/>
                  </a:ext>
                </a:extLst>
              </p:cNvPr>
              <p:cNvPicPr>
                <a:picLocks noChangeAspect="1" noChangeArrowheads="1"/>
              </p:cNvPicPr>
              <p:nvPr/>
            </p:nvPicPr>
            <p:blipFill rotWithShape="1">
              <a:blip r:embed="rId4">
                <a:duotone>
                  <a:srgbClr val="8064A2">
                    <a:shade val="45000"/>
                    <a:satMod val="135000"/>
                  </a:srgbClr>
                  <a:prstClr val="white"/>
                </a:duotone>
                <a:extLst>
                  <a:ext uri="{28A0092B-C50C-407E-A947-70E740481C1C}">
                    <a14:useLocalDpi xmlns:a14="http://schemas.microsoft.com/office/drawing/2010/main" val="0"/>
                  </a:ext>
                </a:extLst>
              </a:blip>
              <a:srcRect l="24091" t="18339" r="23165" b="25991"/>
              <a:stretch/>
            </p:blipFill>
            <p:spPr bwMode="auto">
              <a:xfrm>
                <a:off x="7945394" y="665057"/>
                <a:ext cx="1717589" cy="1952368"/>
              </a:xfrm>
              <a:prstGeom prst="rect">
                <a:avLst/>
              </a:prstGeom>
              <a:noFill/>
              <a:extLst>
                <a:ext uri="{909E8E84-426E-40DD-AFC4-6F175D3DCCD1}">
                  <a14:hiddenFill xmlns:a14="http://schemas.microsoft.com/office/drawing/2010/main">
                    <a:solidFill>
                      <a:srgbClr val="FFFFFF"/>
                    </a:solidFill>
                  </a14:hiddenFill>
                </a:ext>
              </a:extLst>
            </p:spPr>
          </p:pic>
          <p:sp>
            <p:nvSpPr>
              <p:cNvPr id="28" name="Rectangle: Rounded Corners 27">
                <a:extLst>
                  <a:ext uri="{FF2B5EF4-FFF2-40B4-BE49-F238E27FC236}">
                    <a16:creationId xmlns:a16="http://schemas.microsoft.com/office/drawing/2014/main" id="{EE8DFB83-4346-4EAD-AA11-798CA2D977DB}"/>
                  </a:ext>
                </a:extLst>
              </p:cNvPr>
              <p:cNvSpPr/>
              <p:nvPr/>
            </p:nvSpPr>
            <p:spPr>
              <a:xfrm>
                <a:off x="7451123" y="2656398"/>
                <a:ext cx="2706130" cy="597520"/>
              </a:xfrm>
              <a:prstGeom prst="roundRect">
                <a:avLst/>
              </a:prstGeom>
              <a:solidFill>
                <a:srgbClr val="8064A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b="1" i="0" u="none" strike="noStrike" kern="0" cap="none" spc="0" normalizeH="0" baseline="0" noProof="0" dirty="0">
                    <a:ln>
                      <a:noFill/>
                    </a:ln>
                    <a:solidFill>
                      <a:prstClr val="white"/>
                    </a:solidFill>
                    <a:effectLst/>
                    <a:uLnTx/>
                    <a:uFillTx/>
                    <a:latin typeface="+mj-lt"/>
                    <a:ea typeface="+mn-ea"/>
                    <a:cs typeface="+mn-cs"/>
                  </a:rPr>
                  <a:t>DATA DEFENSE</a:t>
                </a:r>
              </a:p>
            </p:txBody>
          </p:sp>
        </p:grpSp>
        <p:sp>
          <p:nvSpPr>
            <p:cNvPr id="29" name="Rectangle 28">
              <a:extLst>
                <a:ext uri="{FF2B5EF4-FFF2-40B4-BE49-F238E27FC236}">
                  <a16:creationId xmlns:a16="http://schemas.microsoft.com/office/drawing/2014/main" id="{0C416314-0F27-4349-A41F-1B32C75A19B2}"/>
                </a:ext>
              </a:extLst>
            </p:cNvPr>
            <p:cNvSpPr/>
            <p:nvPr/>
          </p:nvSpPr>
          <p:spPr>
            <a:xfrm>
              <a:off x="0" y="3342285"/>
              <a:ext cx="5152767" cy="738664"/>
            </a:xfrm>
            <a:prstGeom prst="rect">
              <a:avLst/>
            </a:prstGeom>
          </p:spPr>
          <p:txBody>
            <a:bodyPr wrap="square">
              <a:spAutoFit/>
            </a:bodyPr>
            <a:lstStyle/>
            <a:p>
              <a:pPr algn="ctr">
                <a:defRPr/>
              </a:pPr>
              <a:r>
                <a:rPr lang="en-US" sz="1400" dirty="0">
                  <a:solidFill>
                    <a:prstClr val="black">
                      <a:lumMod val="50000"/>
                      <a:lumOff val="50000"/>
                    </a:prstClr>
                  </a:solidFill>
                  <a:latin typeface="+mj-lt"/>
                </a:rPr>
                <a:t>Enable business to make data-driven decisions &amp; improve competitive position, growth &amp; profitability​</a:t>
              </a:r>
            </a:p>
            <a:p>
              <a:pPr algn="ctr">
                <a:defRPr/>
              </a:pPr>
              <a:r>
                <a:rPr lang="en-US" sz="1400" dirty="0">
                  <a:solidFill>
                    <a:prstClr val="black">
                      <a:lumMod val="50000"/>
                      <a:lumOff val="50000"/>
                    </a:prstClr>
                  </a:solidFill>
                  <a:latin typeface="+mj-lt"/>
                </a:rPr>
                <a:t>Delivers quality, curated data to the business</a:t>
              </a:r>
            </a:p>
          </p:txBody>
        </p:sp>
        <p:sp>
          <p:nvSpPr>
            <p:cNvPr id="30" name="Rectangle 29">
              <a:extLst>
                <a:ext uri="{FF2B5EF4-FFF2-40B4-BE49-F238E27FC236}">
                  <a16:creationId xmlns:a16="http://schemas.microsoft.com/office/drawing/2014/main" id="{9DF8A888-8AF8-4910-8C62-118BB676CB1A}"/>
                </a:ext>
              </a:extLst>
            </p:cNvPr>
            <p:cNvSpPr/>
            <p:nvPr/>
          </p:nvSpPr>
          <p:spPr>
            <a:xfrm>
              <a:off x="6886837" y="3342285"/>
              <a:ext cx="5152767" cy="523220"/>
            </a:xfrm>
            <a:prstGeom prst="rect">
              <a:avLst/>
            </a:prstGeom>
          </p:spPr>
          <p:txBody>
            <a:bodyPr wrap="square">
              <a:spAutoFit/>
            </a:bodyPr>
            <a:lstStyle/>
            <a:p>
              <a:pPr algn="ctr">
                <a:defRPr/>
              </a:pPr>
              <a:r>
                <a:rPr lang="en-US" sz="1400" dirty="0">
                  <a:solidFill>
                    <a:prstClr val="black">
                      <a:lumMod val="50000"/>
                      <a:lumOff val="50000"/>
                    </a:prstClr>
                  </a:solidFill>
                  <a:latin typeface="+mj-lt"/>
                </a:rPr>
                <a:t>Minimize data risks, maintain data integrity &amp; ensure compliance with regulations​</a:t>
              </a:r>
              <a:endParaRPr lang="en-US" sz="1200" dirty="0">
                <a:solidFill>
                  <a:prstClr val="black">
                    <a:lumMod val="50000"/>
                    <a:lumOff val="50000"/>
                  </a:prstClr>
                </a:solidFill>
                <a:latin typeface="+mj-lt"/>
              </a:endParaRPr>
            </a:p>
          </p:txBody>
        </p:sp>
        <p:sp>
          <p:nvSpPr>
            <p:cNvPr id="31" name="Rectangle 30">
              <a:extLst>
                <a:ext uri="{FF2B5EF4-FFF2-40B4-BE49-F238E27FC236}">
                  <a16:creationId xmlns:a16="http://schemas.microsoft.com/office/drawing/2014/main" id="{6EB4BF2C-F0F9-42E9-9D53-9C660F69A345}"/>
                </a:ext>
              </a:extLst>
            </p:cNvPr>
            <p:cNvSpPr/>
            <p:nvPr/>
          </p:nvSpPr>
          <p:spPr>
            <a:xfrm>
              <a:off x="5974813" y="3562382"/>
              <a:ext cx="242374" cy="369332"/>
            </a:xfrm>
            <a:prstGeom prst="rect">
              <a:avLst/>
            </a:prstGeom>
          </p:spPr>
          <p:txBody>
            <a:bodyPr wrap="none">
              <a:spAutoFit/>
            </a:bodyPr>
            <a:lstStyle/>
            <a:p>
              <a:pPr>
                <a:defRPr/>
              </a:pPr>
              <a:r>
                <a:rPr lang="en-US">
                  <a:solidFill>
                    <a:srgbClr val="000000"/>
                  </a:solidFill>
                  <a:latin typeface="Times New Roman" panose="02020603050405020304" pitchFamily="18" charset="0"/>
                </a:rPr>
                <a:t> </a:t>
              </a:r>
              <a:endParaRPr lang="en-US">
                <a:solidFill>
                  <a:prstClr val="black"/>
                </a:solidFill>
                <a:latin typeface="Calibri"/>
              </a:endParaRPr>
            </a:p>
          </p:txBody>
        </p:sp>
      </p:grpSp>
      <p:sp>
        <p:nvSpPr>
          <p:cNvPr id="32" name="Rectangle: Diagonal Corners Rounded 31">
            <a:extLst>
              <a:ext uri="{FF2B5EF4-FFF2-40B4-BE49-F238E27FC236}">
                <a16:creationId xmlns:a16="http://schemas.microsoft.com/office/drawing/2014/main" id="{CF13265F-2AC2-4F5C-ABDF-174B5D0F0F4C}"/>
              </a:ext>
            </a:extLst>
          </p:cNvPr>
          <p:cNvSpPr/>
          <p:nvPr/>
        </p:nvSpPr>
        <p:spPr>
          <a:xfrm>
            <a:off x="1400003" y="4765187"/>
            <a:ext cx="2242749" cy="584776"/>
          </a:xfrm>
          <a:prstGeom prst="round2DiagRect">
            <a:avLst/>
          </a:prstGeom>
          <a:solidFill>
            <a:srgbClr val="4BACC6">
              <a:lumMod val="20000"/>
              <a:lumOff val="8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prstClr val="black">
                    <a:lumMod val="65000"/>
                    <a:lumOff val="35000"/>
                  </a:prstClr>
                </a:solidFill>
                <a:effectLst/>
                <a:uLnTx/>
                <a:uFillTx/>
                <a:latin typeface="+mj-lt"/>
                <a:ea typeface="+mn-ea"/>
                <a:cs typeface="+mn-cs"/>
              </a:rPr>
              <a:t>Establish ownership</a:t>
            </a:r>
          </a:p>
        </p:txBody>
      </p:sp>
      <p:sp>
        <p:nvSpPr>
          <p:cNvPr id="33" name="Rectangle: Diagonal Corners Rounded 32">
            <a:extLst>
              <a:ext uri="{FF2B5EF4-FFF2-40B4-BE49-F238E27FC236}">
                <a16:creationId xmlns:a16="http://schemas.microsoft.com/office/drawing/2014/main" id="{2122AFD6-364C-41D2-8F9C-311E1F9A6717}"/>
              </a:ext>
            </a:extLst>
          </p:cNvPr>
          <p:cNvSpPr/>
          <p:nvPr/>
        </p:nvSpPr>
        <p:spPr>
          <a:xfrm>
            <a:off x="1400003" y="5503865"/>
            <a:ext cx="2242749" cy="584776"/>
          </a:xfrm>
          <a:prstGeom prst="round2DiagRect">
            <a:avLst/>
          </a:prstGeom>
          <a:solidFill>
            <a:srgbClr val="4BACC6">
              <a:lumMod val="20000"/>
              <a:lumOff val="8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prstClr val="black">
                    <a:lumMod val="65000"/>
                    <a:lumOff val="35000"/>
                  </a:prstClr>
                </a:solidFill>
                <a:effectLst/>
                <a:uLnTx/>
                <a:uFillTx/>
                <a:latin typeface="+mj-lt"/>
                <a:ea typeface="+mn-ea"/>
                <a:cs typeface="+mn-cs"/>
              </a:rPr>
              <a:t>Make it discoverable</a:t>
            </a:r>
          </a:p>
        </p:txBody>
      </p:sp>
      <p:sp>
        <p:nvSpPr>
          <p:cNvPr id="34" name="Rectangle: Diagonal Corners Rounded 33">
            <a:extLst>
              <a:ext uri="{FF2B5EF4-FFF2-40B4-BE49-F238E27FC236}">
                <a16:creationId xmlns:a16="http://schemas.microsoft.com/office/drawing/2014/main" id="{06591450-0C35-4E96-A431-0E40466820C4}"/>
              </a:ext>
            </a:extLst>
          </p:cNvPr>
          <p:cNvSpPr/>
          <p:nvPr/>
        </p:nvSpPr>
        <p:spPr>
          <a:xfrm>
            <a:off x="3863940" y="4765187"/>
            <a:ext cx="2242749" cy="584776"/>
          </a:xfrm>
          <a:prstGeom prst="round2DiagRect">
            <a:avLst/>
          </a:prstGeom>
          <a:solidFill>
            <a:srgbClr val="4BACC6">
              <a:lumMod val="20000"/>
              <a:lumOff val="8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prstClr val="black">
                    <a:lumMod val="65000"/>
                    <a:lumOff val="35000"/>
                  </a:prstClr>
                </a:solidFill>
                <a:effectLst/>
                <a:uLnTx/>
                <a:uFillTx/>
                <a:latin typeface="+mj-lt"/>
                <a:ea typeface="+mn-ea"/>
                <a:cs typeface="+mn-cs"/>
              </a:rPr>
              <a:t>Define &amp; provide context</a:t>
            </a:r>
          </a:p>
        </p:txBody>
      </p:sp>
      <p:sp>
        <p:nvSpPr>
          <p:cNvPr id="35" name="Rectangle: Diagonal Corners Rounded 34">
            <a:extLst>
              <a:ext uri="{FF2B5EF4-FFF2-40B4-BE49-F238E27FC236}">
                <a16:creationId xmlns:a16="http://schemas.microsoft.com/office/drawing/2014/main" id="{6FECBDE0-C008-4917-AECD-61B2EB5ECB6F}"/>
              </a:ext>
            </a:extLst>
          </p:cNvPr>
          <p:cNvSpPr/>
          <p:nvPr/>
        </p:nvSpPr>
        <p:spPr>
          <a:xfrm>
            <a:off x="3863940" y="5504850"/>
            <a:ext cx="2242749" cy="584776"/>
          </a:xfrm>
          <a:prstGeom prst="round2DiagRect">
            <a:avLst/>
          </a:prstGeom>
          <a:solidFill>
            <a:srgbClr val="4BACC6">
              <a:lumMod val="20000"/>
              <a:lumOff val="80000"/>
            </a:srgbClr>
          </a:solidFill>
          <a:ln w="25400" cap="flat" cmpd="sng" algn="ctr">
            <a:noFill/>
            <a:prstDash val="solid"/>
          </a:ln>
          <a:effectLst/>
        </p:spPr>
        <p:txBody>
          <a:bodyPr rtlCol="0" anchor="ctr"/>
          <a:lstStyle/>
          <a:p>
            <a:pPr lvl="0" algn="ctr">
              <a:defRPr/>
            </a:pPr>
            <a:r>
              <a:rPr lang="en-US" sz="1600" b="1" kern="0">
                <a:solidFill>
                  <a:prstClr val="black">
                    <a:lumMod val="65000"/>
                    <a:lumOff val="35000"/>
                  </a:prstClr>
                </a:solidFill>
              </a:rPr>
              <a:t>Make it accessible</a:t>
            </a:r>
            <a:endParaRPr lang="en-US" sz="1600" b="1" kern="0" dirty="0">
              <a:solidFill>
                <a:prstClr val="black">
                  <a:lumMod val="65000"/>
                  <a:lumOff val="35000"/>
                </a:prstClr>
              </a:solidFill>
            </a:endParaRPr>
          </a:p>
        </p:txBody>
      </p:sp>
      <p:sp>
        <p:nvSpPr>
          <p:cNvPr id="36" name="Rectangle: Diagonal Corners Rounded 35">
            <a:extLst>
              <a:ext uri="{FF2B5EF4-FFF2-40B4-BE49-F238E27FC236}">
                <a16:creationId xmlns:a16="http://schemas.microsoft.com/office/drawing/2014/main" id="{6E4612BC-589B-4A75-A4AA-79829C23980A}"/>
              </a:ext>
            </a:extLst>
          </p:cNvPr>
          <p:cNvSpPr/>
          <p:nvPr/>
        </p:nvSpPr>
        <p:spPr>
          <a:xfrm>
            <a:off x="6328718" y="4755833"/>
            <a:ext cx="2242749" cy="584776"/>
          </a:xfrm>
          <a:prstGeom prst="round2DiagRect">
            <a:avLst/>
          </a:prstGeom>
          <a:solidFill>
            <a:srgbClr val="4BACC6">
              <a:lumMod val="20000"/>
              <a:lumOff val="80000"/>
            </a:srgbClr>
          </a:solidFill>
          <a:ln w="25400" cap="flat" cmpd="sng" algn="ctr">
            <a:noFill/>
            <a:prstDash val="solid"/>
          </a:ln>
          <a:effectLst/>
        </p:spPr>
        <p:txBody>
          <a:bodyPr rtlCol="0" anchor="ctr"/>
          <a:lstStyle/>
          <a:p>
            <a:pPr algn="ctr">
              <a:defRPr/>
            </a:pPr>
            <a:r>
              <a:rPr lang="en-US" sz="1600" b="1" kern="0" dirty="0">
                <a:solidFill>
                  <a:prstClr val="black">
                    <a:lumMod val="65000"/>
                    <a:lumOff val="35000"/>
                  </a:prstClr>
                </a:solidFill>
              </a:rPr>
              <a:t>Build trust</a:t>
            </a:r>
          </a:p>
        </p:txBody>
      </p:sp>
      <p:sp>
        <p:nvSpPr>
          <p:cNvPr id="37" name="Rectangle: Diagonal Corners Rounded 36">
            <a:extLst>
              <a:ext uri="{FF2B5EF4-FFF2-40B4-BE49-F238E27FC236}">
                <a16:creationId xmlns:a16="http://schemas.microsoft.com/office/drawing/2014/main" id="{8F796BAC-B254-4888-962C-9FD1D7D557F9}"/>
              </a:ext>
            </a:extLst>
          </p:cNvPr>
          <p:cNvSpPr/>
          <p:nvPr/>
        </p:nvSpPr>
        <p:spPr>
          <a:xfrm>
            <a:off x="6328718" y="5503865"/>
            <a:ext cx="2242749" cy="584776"/>
          </a:xfrm>
          <a:prstGeom prst="round2DiagRect">
            <a:avLst/>
          </a:prstGeom>
          <a:solidFill>
            <a:srgbClr val="4BACC6">
              <a:lumMod val="20000"/>
              <a:lumOff val="8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prstClr val="black">
                    <a:lumMod val="65000"/>
                    <a:lumOff val="35000"/>
                  </a:prstClr>
                </a:solidFill>
                <a:effectLst/>
                <a:uLnTx/>
                <a:uFillTx/>
                <a:latin typeface="+mj-lt"/>
                <a:ea typeface="+mn-ea"/>
                <a:cs typeface="+mn-cs"/>
              </a:rPr>
              <a:t>Protect sensitive data</a:t>
            </a:r>
          </a:p>
        </p:txBody>
      </p:sp>
      <p:sp>
        <p:nvSpPr>
          <p:cNvPr id="38" name="Rectangle: Diagonal Corners Rounded 37">
            <a:extLst>
              <a:ext uri="{FF2B5EF4-FFF2-40B4-BE49-F238E27FC236}">
                <a16:creationId xmlns:a16="http://schemas.microsoft.com/office/drawing/2014/main" id="{53DC0619-B182-4CFB-A535-766C4DF53222}"/>
              </a:ext>
            </a:extLst>
          </p:cNvPr>
          <p:cNvSpPr/>
          <p:nvPr/>
        </p:nvSpPr>
        <p:spPr>
          <a:xfrm>
            <a:off x="8792655" y="4755833"/>
            <a:ext cx="2242749" cy="560016"/>
          </a:xfrm>
          <a:prstGeom prst="round2DiagRect">
            <a:avLst/>
          </a:prstGeom>
          <a:solidFill>
            <a:srgbClr val="4BACC6">
              <a:lumMod val="20000"/>
              <a:lumOff val="8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prstClr val="black">
                    <a:lumMod val="65000"/>
                    <a:lumOff val="35000"/>
                  </a:prstClr>
                </a:solidFill>
                <a:effectLst/>
                <a:uLnTx/>
                <a:uFillTx/>
                <a:latin typeface="+mj-lt"/>
                <a:ea typeface="+mn-ea"/>
                <a:cs typeface="+mn-cs"/>
              </a:rPr>
              <a:t>Establish guidelines &amp; enforce standards</a:t>
            </a:r>
          </a:p>
        </p:txBody>
      </p:sp>
      <p:sp>
        <p:nvSpPr>
          <p:cNvPr id="39" name="Rectangle: Diagonal Corners Rounded 38">
            <a:extLst>
              <a:ext uri="{FF2B5EF4-FFF2-40B4-BE49-F238E27FC236}">
                <a16:creationId xmlns:a16="http://schemas.microsoft.com/office/drawing/2014/main" id="{8EBD1749-5579-42B6-A359-807E28939374}"/>
              </a:ext>
            </a:extLst>
          </p:cNvPr>
          <p:cNvSpPr/>
          <p:nvPr/>
        </p:nvSpPr>
        <p:spPr>
          <a:xfrm>
            <a:off x="8792654" y="5503865"/>
            <a:ext cx="2242749" cy="584776"/>
          </a:xfrm>
          <a:prstGeom prst="round2DiagRect">
            <a:avLst/>
          </a:prstGeom>
          <a:solidFill>
            <a:srgbClr val="4BACC6">
              <a:lumMod val="20000"/>
              <a:lumOff val="8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prstClr val="black">
                    <a:lumMod val="65000"/>
                    <a:lumOff val="35000"/>
                  </a:prstClr>
                </a:solidFill>
                <a:effectLst/>
                <a:uLnTx/>
                <a:uFillTx/>
                <a:latin typeface="+mj-lt"/>
                <a:ea typeface="+mn-ea"/>
                <a:cs typeface="+mn-cs"/>
              </a:rPr>
              <a:t>Evangelize importance</a:t>
            </a:r>
          </a:p>
        </p:txBody>
      </p:sp>
      <p:sp>
        <p:nvSpPr>
          <p:cNvPr id="40" name="TextBox 39">
            <a:extLst>
              <a:ext uri="{FF2B5EF4-FFF2-40B4-BE49-F238E27FC236}">
                <a16:creationId xmlns:a16="http://schemas.microsoft.com/office/drawing/2014/main" id="{2B6392EB-64E9-4F61-A0F9-A060E4244702}"/>
              </a:ext>
            </a:extLst>
          </p:cNvPr>
          <p:cNvSpPr txBox="1"/>
          <p:nvPr/>
        </p:nvSpPr>
        <p:spPr>
          <a:xfrm>
            <a:off x="0" y="4077166"/>
            <a:ext cx="12192000" cy="369332"/>
          </a:xfrm>
          <a:prstGeom prst="rect">
            <a:avLst/>
          </a:prstGeom>
          <a:solidFill>
            <a:srgbClr val="144260"/>
          </a:solid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b="1" i="0" u="none" strike="noStrike" kern="0" cap="none" spc="0" normalizeH="0" baseline="0" noProof="0" dirty="0">
                <a:ln>
                  <a:noFill/>
                </a:ln>
                <a:solidFill>
                  <a:prstClr val="white">
                    <a:lumMod val="95000"/>
                  </a:prstClr>
                </a:solidFill>
                <a:effectLst/>
                <a:uLnTx/>
                <a:uFillTx/>
                <a:latin typeface="+mj-lt"/>
              </a:rPr>
              <a:t>CORE DATA GOVERNANCE - FOCAL</a:t>
            </a:r>
            <a:r>
              <a:rPr kumimoji="0" lang="en-US" b="1" i="0" u="none" strike="noStrike" kern="0" cap="none" spc="0" normalizeH="0" noProof="0" dirty="0">
                <a:ln>
                  <a:noFill/>
                </a:ln>
                <a:solidFill>
                  <a:prstClr val="white">
                    <a:lumMod val="95000"/>
                  </a:prstClr>
                </a:solidFill>
                <a:effectLst/>
                <a:uLnTx/>
                <a:uFillTx/>
                <a:latin typeface="+mj-lt"/>
              </a:rPr>
              <a:t> AREAS</a:t>
            </a:r>
            <a:endParaRPr kumimoji="0" lang="en-US" b="1" i="0" u="none" strike="noStrike" kern="0" cap="none" spc="0" normalizeH="0" baseline="0" noProof="0" dirty="0">
              <a:ln>
                <a:noFill/>
              </a:ln>
              <a:solidFill>
                <a:prstClr val="white">
                  <a:lumMod val="95000"/>
                </a:prstClr>
              </a:solidFill>
              <a:effectLst/>
              <a:uLnTx/>
              <a:uFillTx/>
              <a:latin typeface="+mj-lt"/>
            </a:endParaRPr>
          </a:p>
        </p:txBody>
      </p:sp>
      <p:sp>
        <p:nvSpPr>
          <p:cNvPr id="41" name="Rectangle 40">
            <a:extLst>
              <a:ext uri="{FF2B5EF4-FFF2-40B4-BE49-F238E27FC236}">
                <a16:creationId xmlns:a16="http://schemas.microsoft.com/office/drawing/2014/main" id="{3F31635D-D6B7-4476-93F2-188944F21595}"/>
              </a:ext>
            </a:extLst>
          </p:cNvPr>
          <p:cNvSpPr/>
          <p:nvPr/>
        </p:nvSpPr>
        <p:spPr>
          <a:xfrm>
            <a:off x="0" y="719337"/>
            <a:ext cx="12192000" cy="369332"/>
          </a:xfrm>
          <a:prstGeom prst="rect">
            <a:avLst/>
          </a:prstGeom>
        </p:spPr>
        <p:txBody>
          <a:bodyPr wrap="square">
            <a:spAutoFit/>
          </a:bodyPr>
          <a:lstStyle/>
          <a:p>
            <a:pPr algn="ctr">
              <a:defRPr/>
            </a:pPr>
            <a:r>
              <a:rPr lang="en-US" b="1" dirty="0">
                <a:solidFill>
                  <a:prstClr val="black">
                    <a:lumMod val="65000"/>
                    <a:lumOff val="35000"/>
                  </a:prstClr>
                </a:solidFill>
                <a:latin typeface="+mj-lt"/>
                <a:cs typeface="Calibri"/>
              </a:rPr>
              <a:t>Asset: </a:t>
            </a:r>
            <a:r>
              <a:rPr lang="en-US" dirty="0">
                <a:solidFill>
                  <a:prstClr val="black">
                    <a:lumMod val="65000"/>
                    <a:lumOff val="35000"/>
                  </a:prstClr>
                </a:solidFill>
                <a:latin typeface="+mj-lt"/>
                <a:cs typeface="Calibri"/>
              </a:rPr>
              <a:t>something which </a:t>
            </a:r>
            <a:r>
              <a:rPr lang="en-US" b="1" dirty="0">
                <a:solidFill>
                  <a:srgbClr val="C0504D"/>
                </a:solidFill>
                <a:latin typeface="+mj-lt"/>
                <a:cs typeface="Calibri"/>
              </a:rPr>
              <a:t>generates value</a:t>
            </a:r>
            <a:r>
              <a:rPr lang="en-US" dirty="0">
                <a:solidFill>
                  <a:prstClr val="black">
                    <a:lumMod val="65000"/>
                    <a:lumOff val="35000"/>
                  </a:prstClr>
                </a:solidFill>
                <a:latin typeface="+mj-lt"/>
                <a:cs typeface="Calibri"/>
              </a:rPr>
              <a:t> + something </a:t>
            </a:r>
            <a:r>
              <a:rPr lang="en-US" b="1" dirty="0">
                <a:solidFill>
                  <a:srgbClr val="8064A2"/>
                </a:solidFill>
                <a:latin typeface="+mj-lt"/>
                <a:cs typeface="Calibri"/>
              </a:rPr>
              <a:t>we protect</a:t>
            </a:r>
          </a:p>
        </p:txBody>
      </p:sp>
      <p:sp>
        <p:nvSpPr>
          <p:cNvPr id="2" name="Title 1">
            <a:extLst>
              <a:ext uri="{FF2B5EF4-FFF2-40B4-BE49-F238E27FC236}">
                <a16:creationId xmlns:a16="http://schemas.microsoft.com/office/drawing/2014/main" id="{6E897E32-82BB-18BA-EC5B-2EFC160AF7C5}"/>
              </a:ext>
            </a:extLst>
          </p:cNvPr>
          <p:cNvSpPr>
            <a:spLocks noGrp="1"/>
          </p:cNvSpPr>
          <p:nvPr>
            <p:ph type="title"/>
          </p:nvPr>
        </p:nvSpPr>
        <p:spPr/>
        <p:txBody>
          <a:bodyPr/>
          <a:lstStyle/>
          <a:p>
            <a:r>
              <a:rPr lang="en-US" kern="0" dirty="0"/>
              <a:t>We need to treat and manage data as our core asset</a:t>
            </a:r>
            <a:endParaRPr lang="en-US" dirty="0"/>
          </a:p>
        </p:txBody>
      </p:sp>
    </p:spTree>
    <p:extLst>
      <p:ext uri="{BB962C8B-B14F-4D97-AF65-F5344CB8AC3E}">
        <p14:creationId xmlns:p14="http://schemas.microsoft.com/office/powerpoint/2010/main" val="27761811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0"/>
                                        </p:tgtEl>
                                        <p:attrNameLst>
                                          <p:attrName>style.visibility</p:attrName>
                                        </p:attrNameLst>
                                      </p:cBhvr>
                                      <p:to>
                                        <p:strVal val="visible"/>
                                      </p:to>
                                    </p:set>
                                    <p:animEffect transition="in" filter="fade">
                                      <p:cBhvr>
                                        <p:cTn id="7" dur="500"/>
                                        <p:tgtEl>
                                          <p:spTgt spid="40"/>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32"/>
                                        </p:tgtEl>
                                        <p:attrNameLst>
                                          <p:attrName>style.visibility</p:attrName>
                                        </p:attrNameLst>
                                      </p:cBhvr>
                                      <p:to>
                                        <p:strVal val="visible"/>
                                      </p:to>
                                    </p:set>
                                    <p:animEffect transition="in" filter="fade">
                                      <p:cBhvr>
                                        <p:cTn id="11" dur="500"/>
                                        <p:tgtEl>
                                          <p:spTgt spid="32"/>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34"/>
                                        </p:tgtEl>
                                        <p:attrNameLst>
                                          <p:attrName>style.visibility</p:attrName>
                                        </p:attrNameLst>
                                      </p:cBhvr>
                                      <p:to>
                                        <p:strVal val="visible"/>
                                      </p:to>
                                    </p:set>
                                    <p:animEffect transition="in" filter="fade">
                                      <p:cBhvr>
                                        <p:cTn id="14" dur="500"/>
                                        <p:tgtEl>
                                          <p:spTgt spid="34"/>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33"/>
                                        </p:tgtEl>
                                        <p:attrNameLst>
                                          <p:attrName>style.visibility</p:attrName>
                                        </p:attrNameLst>
                                      </p:cBhvr>
                                      <p:to>
                                        <p:strVal val="visible"/>
                                      </p:to>
                                    </p:set>
                                    <p:animEffect transition="in" filter="fade">
                                      <p:cBhvr>
                                        <p:cTn id="17" dur="500"/>
                                        <p:tgtEl>
                                          <p:spTgt spid="33"/>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35"/>
                                        </p:tgtEl>
                                        <p:attrNameLst>
                                          <p:attrName>style.visibility</p:attrName>
                                        </p:attrNameLst>
                                      </p:cBhvr>
                                      <p:to>
                                        <p:strVal val="visible"/>
                                      </p:to>
                                    </p:set>
                                    <p:animEffect transition="in" filter="fade">
                                      <p:cBhvr>
                                        <p:cTn id="20" dur="500"/>
                                        <p:tgtEl>
                                          <p:spTgt spid="35"/>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36"/>
                                        </p:tgtEl>
                                        <p:attrNameLst>
                                          <p:attrName>style.visibility</p:attrName>
                                        </p:attrNameLst>
                                      </p:cBhvr>
                                      <p:to>
                                        <p:strVal val="visible"/>
                                      </p:to>
                                    </p:set>
                                    <p:animEffect transition="in" filter="fade">
                                      <p:cBhvr>
                                        <p:cTn id="23" dur="500"/>
                                        <p:tgtEl>
                                          <p:spTgt spid="36"/>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37"/>
                                        </p:tgtEl>
                                        <p:attrNameLst>
                                          <p:attrName>style.visibility</p:attrName>
                                        </p:attrNameLst>
                                      </p:cBhvr>
                                      <p:to>
                                        <p:strVal val="visible"/>
                                      </p:to>
                                    </p:set>
                                    <p:animEffect transition="in" filter="fade">
                                      <p:cBhvr>
                                        <p:cTn id="26" dur="500"/>
                                        <p:tgtEl>
                                          <p:spTgt spid="37"/>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38"/>
                                        </p:tgtEl>
                                        <p:attrNameLst>
                                          <p:attrName>style.visibility</p:attrName>
                                        </p:attrNameLst>
                                      </p:cBhvr>
                                      <p:to>
                                        <p:strVal val="visible"/>
                                      </p:to>
                                    </p:set>
                                    <p:animEffect transition="in" filter="fade">
                                      <p:cBhvr>
                                        <p:cTn id="29" dur="500"/>
                                        <p:tgtEl>
                                          <p:spTgt spid="38"/>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39"/>
                                        </p:tgtEl>
                                        <p:attrNameLst>
                                          <p:attrName>style.visibility</p:attrName>
                                        </p:attrNameLst>
                                      </p:cBhvr>
                                      <p:to>
                                        <p:strVal val="visible"/>
                                      </p:to>
                                    </p:set>
                                    <p:animEffect transition="in" filter="fade">
                                      <p:cBhvr>
                                        <p:cTn id="32" dur="50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33" grpId="0" animBg="1"/>
      <p:bldP spid="34" grpId="0" animBg="1"/>
      <p:bldP spid="35" grpId="0" animBg="1"/>
      <p:bldP spid="36" grpId="0" animBg="1"/>
      <p:bldP spid="37" grpId="0" animBg="1"/>
      <p:bldP spid="38" grpId="0" animBg="1"/>
      <p:bldP spid="39" grpId="0" animBg="1"/>
      <p:bldP spid="40"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FC692542-0D24-44BA-8525-1081BA66940D}"/>
              </a:ext>
            </a:extLst>
          </p:cNvPr>
          <p:cNvSpPr>
            <a:spLocks noGrp="1"/>
          </p:cNvSpPr>
          <p:nvPr>
            <p:ph type="pic" sz="quarter" idx="11"/>
          </p:nvPr>
        </p:nvSpPr>
        <p:spPr>
          <a:xfrm>
            <a:off x="8423565" y="0"/>
            <a:ext cx="3768435" cy="6858000"/>
          </a:xfrm>
        </p:spPr>
      </p:sp>
      <p:sp>
        <p:nvSpPr>
          <p:cNvPr id="2" name="Text Placeholder 1">
            <a:extLst>
              <a:ext uri="{FF2B5EF4-FFF2-40B4-BE49-F238E27FC236}">
                <a16:creationId xmlns:a16="http://schemas.microsoft.com/office/drawing/2014/main" id="{B0BE9769-B6EF-436B-B141-7BC9C951591F}"/>
              </a:ext>
            </a:extLst>
          </p:cNvPr>
          <p:cNvSpPr>
            <a:spLocks noGrp="1"/>
          </p:cNvSpPr>
          <p:nvPr>
            <p:ph type="body" sz="quarter" idx="10"/>
          </p:nvPr>
        </p:nvSpPr>
        <p:spPr/>
        <p:txBody>
          <a:bodyPr vert="horz" lIns="91440" tIns="45720" rIns="91440" bIns="45720" rtlCol="0" anchor="ctr">
            <a:noAutofit/>
          </a:bodyPr>
          <a:lstStyle/>
          <a:p>
            <a:pPr>
              <a:spcBef>
                <a:spcPct val="0"/>
              </a:spcBef>
            </a:pPr>
            <a:r>
              <a:rPr lang="en-US" sz="2800" kern="0" dirty="0">
                <a:solidFill>
                  <a:srgbClr val="0A3360"/>
                </a:solidFill>
                <a:ea typeface="+mj-ea"/>
                <a:cs typeface="+mj-cs"/>
              </a:rPr>
              <a:t>4 Key Benefits of Data Governance</a:t>
            </a:r>
          </a:p>
        </p:txBody>
      </p:sp>
      <p:sp>
        <p:nvSpPr>
          <p:cNvPr id="4" name="TextBox 3">
            <a:extLst>
              <a:ext uri="{FF2B5EF4-FFF2-40B4-BE49-F238E27FC236}">
                <a16:creationId xmlns:a16="http://schemas.microsoft.com/office/drawing/2014/main" id="{01E57F4C-2715-4246-8480-383D58E7493C}"/>
              </a:ext>
            </a:extLst>
          </p:cNvPr>
          <p:cNvSpPr txBox="1"/>
          <p:nvPr/>
        </p:nvSpPr>
        <p:spPr>
          <a:xfrm>
            <a:off x="539061" y="1366980"/>
            <a:ext cx="7884504" cy="4201150"/>
          </a:xfrm>
          <a:prstGeom prst="rect">
            <a:avLst/>
          </a:prstGeom>
          <a:noFill/>
        </p:spPr>
        <p:txBody>
          <a:bodyPr wrap="square" rtlCol="0">
            <a:spAutoFit/>
          </a:bodyPr>
          <a:lstStyle/>
          <a:p>
            <a:r>
              <a:rPr lang="en-US" b="1" i="0" dirty="0">
                <a:solidFill>
                  <a:srgbClr val="171717"/>
                </a:solidFill>
                <a:effectLst/>
                <a:latin typeface="Gilroy"/>
              </a:rPr>
              <a:t>Enables true data democratization</a:t>
            </a:r>
          </a:p>
          <a:p>
            <a:pPr marL="285750" indent="-285750">
              <a:buFont typeface="Arial" panose="020B0604020202020204" pitchFamily="34" charset="0"/>
              <a:buChar char="•"/>
            </a:pPr>
            <a:r>
              <a:rPr lang="en-US" b="0" i="0" dirty="0">
                <a:solidFill>
                  <a:srgbClr val="3E4C59"/>
                </a:solidFill>
                <a:effectLst/>
                <a:latin typeface="Avenir"/>
              </a:rPr>
              <a:t>Everyone has a right to data that will help them make better decisions. Data governance ensures that you can uphold that right, without compromising on data security. </a:t>
            </a:r>
          </a:p>
          <a:p>
            <a:pPr>
              <a:spcBef>
                <a:spcPts val="600"/>
              </a:spcBef>
            </a:pPr>
            <a:r>
              <a:rPr lang="en-US" b="1" dirty="0">
                <a:solidFill>
                  <a:srgbClr val="171717"/>
                </a:solidFill>
                <a:latin typeface="Gilroy"/>
              </a:rPr>
              <a:t>Builds effective collaboration between teams</a:t>
            </a:r>
          </a:p>
          <a:p>
            <a:pPr marL="285750" indent="-285750">
              <a:buFont typeface="Arial" panose="020B0604020202020204" pitchFamily="34" charset="0"/>
              <a:buChar char="•"/>
            </a:pPr>
            <a:r>
              <a:rPr lang="en-US" b="0" i="0" dirty="0">
                <a:solidFill>
                  <a:srgbClr val="3E4C59"/>
                </a:solidFill>
                <a:effectLst/>
                <a:latin typeface="Avenir"/>
              </a:rPr>
              <a:t>Processes that ensure data is publicly discoverable, commonly understood, documented and easil</a:t>
            </a:r>
            <a:r>
              <a:rPr lang="en-US" dirty="0">
                <a:solidFill>
                  <a:srgbClr val="3E4C59"/>
                </a:solidFill>
                <a:latin typeface="Avenir"/>
              </a:rPr>
              <a:t>y accessible</a:t>
            </a:r>
            <a:r>
              <a:rPr lang="en-US" b="0" i="0" dirty="0">
                <a:solidFill>
                  <a:srgbClr val="3E4C59"/>
                </a:solidFill>
                <a:effectLst/>
                <a:latin typeface="Avenir"/>
              </a:rPr>
              <a:t> enable data users to leverage data and reduce friction between diverse data practitioners.</a:t>
            </a:r>
            <a:endParaRPr lang="en-US" dirty="0">
              <a:solidFill>
                <a:srgbClr val="3E4C59"/>
              </a:solidFill>
              <a:latin typeface="Avenir"/>
            </a:endParaRPr>
          </a:p>
          <a:p>
            <a:pPr>
              <a:spcBef>
                <a:spcPts val="600"/>
              </a:spcBef>
            </a:pPr>
            <a:r>
              <a:rPr lang="en-US" b="1" dirty="0">
                <a:solidFill>
                  <a:srgbClr val="171717"/>
                </a:solidFill>
                <a:latin typeface="Gilroy"/>
              </a:rPr>
              <a:t>Protects the integrity and relevance of data</a:t>
            </a:r>
          </a:p>
          <a:p>
            <a:pPr marL="285750" indent="-285750">
              <a:buFont typeface="Arial" panose="020B0604020202020204" pitchFamily="34" charset="0"/>
              <a:buChar char="•"/>
            </a:pPr>
            <a:r>
              <a:rPr lang="en-US" b="0" i="0" dirty="0">
                <a:solidFill>
                  <a:srgbClr val="3E4C59"/>
                </a:solidFill>
                <a:effectLst/>
                <a:latin typeface="Avenir"/>
              </a:rPr>
              <a:t>For data to be the bedrock of impactful decisions it must be relevant, accurate, trustworthy, easy to use, and have high quality.</a:t>
            </a:r>
          </a:p>
          <a:p>
            <a:pPr>
              <a:spcBef>
                <a:spcPts val="600"/>
              </a:spcBef>
            </a:pPr>
            <a:r>
              <a:rPr lang="en-US" b="1" i="0" dirty="0">
                <a:solidFill>
                  <a:srgbClr val="171717"/>
                </a:solidFill>
                <a:effectLst/>
                <a:latin typeface="Gilroy"/>
              </a:rPr>
              <a:t>Helps comply with data protection laws and regulations</a:t>
            </a:r>
            <a:endParaRPr lang="en-US" dirty="0">
              <a:solidFill>
                <a:srgbClr val="3E4C59"/>
              </a:solidFill>
              <a:latin typeface="Avenir"/>
            </a:endParaRPr>
          </a:p>
          <a:p>
            <a:pPr marL="285750" indent="-285750">
              <a:buFont typeface="Arial" panose="020B0604020202020204" pitchFamily="34" charset="0"/>
              <a:buChar char="•"/>
            </a:pPr>
            <a:r>
              <a:rPr lang="en-US" b="0" i="0" dirty="0">
                <a:solidFill>
                  <a:srgbClr val="3E4C59"/>
                </a:solidFill>
                <a:effectLst/>
                <a:latin typeface="Avenir"/>
              </a:rPr>
              <a:t>Good data governance tools and processes ensure automated compliance with data protection laws and regulations</a:t>
            </a:r>
            <a:endParaRPr lang="en-US" dirty="0"/>
          </a:p>
        </p:txBody>
      </p:sp>
      <p:sp>
        <p:nvSpPr>
          <p:cNvPr id="7" name="TextBox 6">
            <a:extLst>
              <a:ext uri="{FF2B5EF4-FFF2-40B4-BE49-F238E27FC236}">
                <a16:creationId xmlns:a16="http://schemas.microsoft.com/office/drawing/2014/main" id="{7EFF8109-494D-43E5-A2C5-7075DDF1F3CF}"/>
              </a:ext>
            </a:extLst>
          </p:cNvPr>
          <p:cNvSpPr txBox="1"/>
          <p:nvPr/>
        </p:nvSpPr>
        <p:spPr>
          <a:xfrm>
            <a:off x="9010850" y="5072380"/>
            <a:ext cx="2930961" cy="1200329"/>
          </a:xfrm>
          <a:prstGeom prst="rect">
            <a:avLst/>
          </a:prstGeom>
          <a:noFill/>
        </p:spPr>
        <p:txBody>
          <a:bodyPr wrap="square">
            <a:spAutoFit/>
          </a:bodyPr>
          <a:lstStyle/>
          <a:p>
            <a:r>
              <a:rPr lang="en-US" b="1" i="0">
                <a:solidFill>
                  <a:srgbClr val="3E4C59"/>
                </a:solidFill>
                <a:effectLst/>
                <a:latin typeface="Avenir"/>
              </a:rPr>
              <a:t>Fundamentally, data governance ensures effective collaboration and data democratization.</a:t>
            </a:r>
            <a:endParaRPr lang="en-US"/>
          </a:p>
        </p:txBody>
      </p:sp>
      <p:pic>
        <p:nvPicPr>
          <p:cNvPr id="13" name="Picture 12" descr="Diagram&#10;&#10;Description automatically generated">
            <a:extLst>
              <a:ext uri="{FF2B5EF4-FFF2-40B4-BE49-F238E27FC236}">
                <a16:creationId xmlns:a16="http://schemas.microsoft.com/office/drawing/2014/main" id="{699C464D-75C2-4E76-8D53-A379266AD9B7}"/>
              </a:ext>
            </a:extLst>
          </p:cNvPr>
          <p:cNvPicPr>
            <a:picLocks noChangeAspect="1"/>
          </p:cNvPicPr>
          <p:nvPr/>
        </p:nvPicPr>
        <p:blipFill>
          <a:blip r:embed="rId3"/>
          <a:stretch>
            <a:fillRect/>
          </a:stretch>
        </p:blipFill>
        <p:spPr>
          <a:xfrm>
            <a:off x="8530252" y="1147116"/>
            <a:ext cx="3555060" cy="3527244"/>
          </a:xfrm>
          <a:prstGeom prst="rect">
            <a:avLst/>
          </a:prstGeom>
        </p:spPr>
      </p:pic>
    </p:spTree>
    <p:extLst>
      <p:ext uri="{BB962C8B-B14F-4D97-AF65-F5344CB8AC3E}">
        <p14:creationId xmlns:p14="http://schemas.microsoft.com/office/powerpoint/2010/main" val="364786726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Rounded Corners 31">
            <a:extLst>
              <a:ext uri="{FF2B5EF4-FFF2-40B4-BE49-F238E27FC236}">
                <a16:creationId xmlns:a16="http://schemas.microsoft.com/office/drawing/2014/main" id="{B3C1F734-57C6-4198-8860-9DFF30BAA01C}"/>
              </a:ext>
            </a:extLst>
          </p:cNvPr>
          <p:cNvSpPr/>
          <p:nvPr/>
        </p:nvSpPr>
        <p:spPr>
          <a:xfrm>
            <a:off x="7927002" y="1199625"/>
            <a:ext cx="2499656" cy="589482"/>
          </a:xfrm>
          <a:prstGeom prst="roundRect">
            <a:avLst/>
          </a:prstGeom>
          <a:solidFill>
            <a:sysClr val="window" lastClr="FFFFFF">
              <a:lumMod val="95000"/>
            </a:sys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b="1" i="0" u="none" strike="noStrike" kern="0" cap="none" spc="0" normalizeH="0" baseline="0" noProof="0" dirty="0">
                <a:ln>
                  <a:noFill/>
                </a:ln>
                <a:solidFill>
                  <a:prstClr val="black">
                    <a:lumMod val="65000"/>
                    <a:lumOff val="35000"/>
                  </a:prstClr>
                </a:solidFill>
                <a:effectLst/>
                <a:uLnTx/>
                <a:uFillTx/>
                <a:latin typeface="96 Sans"/>
                <a:ea typeface="+mn-ea"/>
                <a:cs typeface="+mn-cs"/>
              </a:rPr>
              <a:t>FEDERATED</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lumMod val="65000"/>
                    <a:lumOff val="35000"/>
                  </a:prstClr>
                </a:solidFill>
                <a:effectLst/>
                <a:uLnTx/>
                <a:uFillTx/>
                <a:latin typeface="96 Sans"/>
                <a:ea typeface="+mn-ea"/>
                <a:cs typeface="+mn-cs"/>
              </a:rPr>
              <a:t>(across biz units)</a:t>
            </a:r>
          </a:p>
        </p:txBody>
      </p:sp>
      <p:sp>
        <p:nvSpPr>
          <p:cNvPr id="33" name="Rectangle: Rounded Corners 32">
            <a:extLst>
              <a:ext uri="{FF2B5EF4-FFF2-40B4-BE49-F238E27FC236}">
                <a16:creationId xmlns:a16="http://schemas.microsoft.com/office/drawing/2014/main" id="{CA87CD11-64DD-4F5A-8FB6-83B7F72740B8}"/>
              </a:ext>
            </a:extLst>
          </p:cNvPr>
          <p:cNvSpPr/>
          <p:nvPr/>
        </p:nvSpPr>
        <p:spPr>
          <a:xfrm>
            <a:off x="1077742" y="1199625"/>
            <a:ext cx="2930840" cy="589482"/>
          </a:xfrm>
          <a:prstGeom prst="roundRect">
            <a:avLst/>
          </a:prstGeom>
          <a:solidFill>
            <a:sysClr val="window" lastClr="FFFFFF">
              <a:lumMod val="95000"/>
            </a:sys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b="1" i="0" u="none" strike="noStrike" kern="0" cap="none" spc="0" normalizeH="0" baseline="0" noProof="0" dirty="0">
                <a:ln>
                  <a:noFill/>
                </a:ln>
                <a:solidFill>
                  <a:prstClr val="black">
                    <a:lumMod val="65000"/>
                    <a:lumOff val="35000"/>
                  </a:prstClr>
                </a:solidFill>
                <a:effectLst/>
                <a:uLnTx/>
                <a:uFillTx/>
                <a:latin typeface="96 Sans"/>
                <a:ea typeface="+mn-ea"/>
                <a:cs typeface="+mn-cs"/>
              </a:rPr>
              <a:t>CENTRALIZED</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lumMod val="65000"/>
                    <a:lumOff val="35000"/>
                  </a:prstClr>
                </a:solidFill>
                <a:effectLst/>
                <a:uLnTx/>
                <a:uFillTx/>
                <a:latin typeface="96 Sans"/>
                <a:ea typeface="+mn-ea"/>
                <a:cs typeface="+mn-cs"/>
              </a:rPr>
              <a:t>(DGAP “pillar” within DATE/EDS)</a:t>
            </a:r>
          </a:p>
        </p:txBody>
      </p:sp>
      <p:grpSp>
        <p:nvGrpSpPr>
          <p:cNvPr id="34" name="Group 33">
            <a:extLst>
              <a:ext uri="{FF2B5EF4-FFF2-40B4-BE49-F238E27FC236}">
                <a16:creationId xmlns:a16="http://schemas.microsoft.com/office/drawing/2014/main" id="{A8C0C601-1864-48DA-A6B9-500EB3EA2110}"/>
              </a:ext>
            </a:extLst>
          </p:cNvPr>
          <p:cNvGrpSpPr/>
          <p:nvPr/>
        </p:nvGrpSpPr>
        <p:grpSpPr>
          <a:xfrm>
            <a:off x="4890598" y="2772696"/>
            <a:ext cx="1356013" cy="1059892"/>
            <a:chOff x="976727" y="1895835"/>
            <a:chExt cx="1018424" cy="711640"/>
          </a:xfrm>
        </p:grpSpPr>
        <p:grpSp>
          <p:nvGrpSpPr>
            <p:cNvPr id="35" name="Group 34">
              <a:extLst>
                <a:ext uri="{FF2B5EF4-FFF2-40B4-BE49-F238E27FC236}">
                  <a16:creationId xmlns:a16="http://schemas.microsoft.com/office/drawing/2014/main" id="{FA92B39E-FBFE-438F-9E96-1D9DB81B1153}"/>
                </a:ext>
              </a:extLst>
            </p:cNvPr>
            <p:cNvGrpSpPr/>
            <p:nvPr/>
          </p:nvGrpSpPr>
          <p:grpSpPr>
            <a:xfrm>
              <a:off x="1066799" y="1895835"/>
              <a:ext cx="928352" cy="711640"/>
              <a:chOff x="1824038" y="231776"/>
              <a:chExt cx="6086476" cy="4665663"/>
            </a:xfrm>
            <a:solidFill>
              <a:srgbClr val="4F81BD">
                <a:lumMod val="75000"/>
              </a:srgbClr>
            </a:solidFill>
          </p:grpSpPr>
          <p:sp>
            <p:nvSpPr>
              <p:cNvPr id="37" name="Freeform 6">
                <a:extLst>
                  <a:ext uri="{FF2B5EF4-FFF2-40B4-BE49-F238E27FC236}">
                    <a16:creationId xmlns:a16="http://schemas.microsoft.com/office/drawing/2014/main" id="{9F59E849-3578-4ED8-99B8-C1463E5CE8EF}"/>
                  </a:ext>
                </a:extLst>
              </p:cNvPr>
              <p:cNvSpPr>
                <a:spLocks/>
              </p:cNvSpPr>
              <p:nvPr/>
            </p:nvSpPr>
            <p:spPr bwMode="auto">
              <a:xfrm>
                <a:off x="3438526" y="231776"/>
                <a:ext cx="4471988" cy="2687638"/>
              </a:xfrm>
              <a:custGeom>
                <a:avLst/>
                <a:gdLst>
                  <a:gd name="T0" fmla="*/ 1190 w 1190"/>
                  <a:gd name="T1" fmla="*/ 157 h 715"/>
                  <a:gd name="T2" fmla="*/ 1190 w 1190"/>
                  <a:gd name="T3" fmla="*/ 676 h 715"/>
                  <a:gd name="T4" fmla="*/ 1135 w 1190"/>
                  <a:gd name="T5" fmla="*/ 688 h 715"/>
                  <a:gd name="T6" fmla="*/ 1020 w 1190"/>
                  <a:gd name="T7" fmla="*/ 707 h 715"/>
                  <a:gd name="T8" fmla="*/ 894 w 1190"/>
                  <a:gd name="T9" fmla="*/ 670 h 715"/>
                  <a:gd name="T10" fmla="*/ 538 w 1190"/>
                  <a:gd name="T11" fmla="*/ 329 h 715"/>
                  <a:gd name="T12" fmla="*/ 404 w 1190"/>
                  <a:gd name="T13" fmla="*/ 308 h 715"/>
                  <a:gd name="T14" fmla="*/ 196 w 1190"/>
                  <a:gd name="T15" fmla="*/ 412 h 715"/>
                  <a:gd name="T16" fmla="*/ 134 w 1190"/>
                  <a:gd name="T17" fmla="*/ 438 h 715"/>
                  <a:gd name="T18" fmla="*/ 4 w 1190"/>
                  <a:gd name="T19" fmla="*/ 354 h 715"/>
                  <a:gd name="T20" fmla="*/ 36 w 1190"/>
                  <a:gd name="T21" fmla="*/ 277 h 715"/>
                  <a:gd name="T22" fmla="*/ 104 w 1190"/>
                  <a:gd name="T23" fmla="*/ 233 h 715"/>
                  <a:gd name="T24" fmla="*/ 379 w 1190"/>
                  <a:gd name="T25" fmla="*/ 82 h 715"/>
                  <a:gd name="T26" fmla="*/ 504 w 1190"/>
                  <a:gd name="T27" fmla="*/ 16 h 715"/>
                  <a:gd name="T28" fmla="*/ 568 w 1190"/>
                  <a:gd name="T29" fmla="*/ 4 h 715"/>
                  <a:gd name="T30" fmla="*/ 626 w 1190"/>
                  <a:gd name="T31" fmla="*/ 28 h 715"/>
                  <a:gd name="T32" fmla="*/ 732 w 1190"/>
                  <a:gd name="T33" fmla="*/ 111 h 715"/>
                  <a:gd name="T34" fmla="*/ 833 w 1190"/>
                  <a:gd name="T35" fmla="*/ 195 h 715"/>
                  <a:gd name="T36" fmla="*/ 924 w 1190"/>
                  <a:gd name="T37" fmla="*/ 214 h 715"/>
                  <a:gd name="T38" fmla="*/ 1043 w 1190"/>
                  <a:gd name="T39" fmla="*/ 189 h 715"/>
                  <a:gd name="T40" fmla="*/ 1157 w 1190"/>
                  <a:gd name="T41" fmla="*/ 164 h 715"/>
                  <a:gd name="T42" fmla="*/ 1190 w 1190"/>
                  <a:gd name="T43" fmla="*/ 157 h 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90" h="715">
                    <a:moveTo>
                      <a:pt x="1190" y="157"/>
                    </a:moveTo>
                    <a:cubicBezTo>
                      <a:pt x="1190" y="330"/>
                      <a:pt x="1190" y="503"/>
                      <a:pt x="1190" y="676"/>
                    </a:cubicBezTo>
                    <a:cubicBezTo>
                      <a:pt x="1171" y="680"/>
                      <a:pt x="1153" y="684"/>
                      <a:pt x="1135" y="688"/>
                    </a:cubicBezTo>
                    <a:cubicBezTo>
                      <a:pt x="1097" y="694"/>
                      <a:pt x="1058" y="701"/>
                      <a:pt x="1020" y="707"/>
                    </a:cubicBezTo>
                    <a:cubicBezTo>
                      <a:pt x="972" y="715"/>
                      <a:pt x="930" y="705"/>
                      <a:pt x="894" y="670"/>
                    </a:cubicBezTo>
                    <a:cubicBezTo>
                      <a:pt x="775" y="556"/>
                      <a:pt x="656" y="443"/>
                      <a:pt x="538" y="329"/>
                    </a:cubicBezTo>
                    <a:cubicBezTo>
                      <a:pt x="500" y="292"/>
                      <a:pt x="449" y="286"/>
                      <a:pt x="404" y="308"/>
                    </a:cubicBezTo>
                    <a:cubicBezTo>
                      <a:pt x="334" y="342"/>
                      <a:pt x="266" y="377"/>
                      <a:pt x="196" y="412"/>
                    </a:cubicBezTo>
                    <a:cubicBezTo>
                      <a:pt x="176" y="422"/>
                      <a:pt x="156" y="431"/>
                      <a:pt x="134" y="438"/>
                    </a:cubicBezTo>
                    <a:cubicBezTo>
                      <a:pt x="78" y="455"/>
                      <a:pt x="12" y="413"/>
                      <a:pt x="4" y="354"/>
                    </a:cubicBezTo>
                    <a:cubicBezTo>
                      <a:pt x="0" y="323"/>
                      <a:pt x="12" y="296"/>
                      <a:pt x="36" y="277"/>
                    </a:cubicBezTo>
                    <a:cubicBezTo>
                      <a:pt x="57" y="261"/>
                      <a:pt x="81" y="246"/>
                      <a:pt x="104" y="233"/>
                    </a:cubicBezTo>
                    <a:cubicBezTo>
                      <a:pt x="196" y="182"/>
                      <a:pt x="287" y="132"/>
                      <a:pt x="379" y="82"/>
                    </a:cubicBezTo>
                    <a:cubicBezTo>
                      <a:pt x="420" y="59"/>
                      <a:pt x="462" y="38"/>
                      <a:pt x="504" y="16"/>
                    </a:cubicBezTo>
                    <a:cubicBezTo>
                      <a:pt x="524" y="6"/>
                      <a:pt x="546" y="0"/>
                      <a:pt x="568" y="4"/>
                    </a:cubicBezTo>
                    <a:cubicBezTo>
                      <a:pt x="589" y="7"/>
                      <a:pt x="609" y="15"/>
                      <a:pt x="626" y="28"/>
                    </a:cubicBezTo>
                    <a:cubicBezTo>
                      <a:pt x="662" y="55"/>
                      <a:pt x="697" y="83"/>
                      <a:pt x="732" y="111"/>
                    </a:cubicBezTo>
                    <a:cubicBezTo>
                      <a:pt x="766" y="138"/>
                      <a:pt x="800" y="166"/>
                      <a:pt x="833" y="195"/>
                    </a:cubicBezTo>
                    <a:cubicBezTo>
                      <a:pt x="860" y="218"/>
                      <a:pt x="891" y="221"/>
                      <a:pt x="924" y="214"/>
                    </a:cubicBezTo>
                    <a:cubicBezTo>
                      <a:pt x="964" y="206"/>
                      <a:pt x="1003" y="197"/>
                      <a:pt x="1043" y="189"/>
                    </a:cubicBezTo>
                    <a:cubicBezTo>
                      <a:pt x="1081" y="180"/>
                      <a:pt x="1119" y="172"/>
                      <a:pt x="1157" y="164"/>
                    </a:cubicBezTo>
                    <a:cubicBezTo>
                      <a:pt x="1168" y="162"/>
                      <a:pt x="1178" y="159"/>
                      <a:pt x="1190" y="157"/>
                    </a:cubicBezTo>
                    <a:close/>
                  </a:path>
                </a:pathLst>
              </a:custGeom>
              <a:solidFill>
                <a:sysClr val="window" lastClr="FFFFFF">
                  <a:lumMod val="75000"/>
                </a:sysClr>
              </a:solidFill>
              <a:ln w="12700">
                <a:solidFill>
                  <a:sysClr val="window" lastClr="FFFFFF"/>
                </a:solidFill>
                <a:round/>
                <a:headEnd/>
                <a:tailEnd/>
              </a:ln>
            </p:spPr>
            <p:txBody>
              <a:bodyPr vert="horz" wrap="square" lIns="68580" tIns="34290" rIns="68580" bIns="34290" numCol="1" anchor="t" anchorCtr="0" compatLnSpc="1">
                <a:prstTxWarp prst="textNoShape">
                  <a:avLst/>
                </a:prstTxWarp>
                <a:norm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a:endParaRPr>
              </a:p>
            </p:txBody>
          </p:sp>
          <p:sp>
            <p:nvSpPr>
              <p:cNvPr id="38" name="Freeform 7">
                <a:extLst>
                  <a:ext uri="{FF2B5EF4-FFF2-40B4-BE49-F238E27FC236}">
                    <a16:creationId xmlns:a16="http://schemas.microsoft.com/office/drawing/2014/main" id="{9112ED77-6E6D-4F60-AAC9-7AB1C842CC3F}"/>
                  </a:ext>
                </a:extLst>
              </p:cNvPr>
              <p:cNvSpPr>
                <a:spLocks/>
              </p:cNvSpPr>
              <p:nvPr/>
            </p:nvSpPr>
            <p:spPr bwMode="auto">
              <a:xfrm>
                <a:off x="1824038" y="2720976"/>
                <a:ext cx="2227263" cy="2176463"/>
              </a:xfrm>
              <a:custGeom>
                <a:avLst/>
                <a:gdLst>
                  <a:gd name="T0" fmla="*/ 375 w 593"/>
                  <a:gd name="T1" fmla="*/ 442 h 579"/>
                  <a:gd name="T2" fmla="*/ 341 w 593"/>
                  <a:gd name="T3" fmla="*/ 451 h 579"/>
                  <a:gd name="T4" fmla="*/ 282 w 593"/>
                  <a:gd name="T5" fmla="*/ 451 h 579"/>
                  <a:gd name="T6" fmla="*/ 243 w 593"/>
                  <a:gd name="T7" fmla="*/ 359 h 579"/>
                  <a:gd name="T8" fmla="*/ 254 w 593"/>
                  <a:gd name="T9" fmla="*/ 330 h 579"/>
                  <a:gd name="T10" fmla="*/ 252 w 593"/>
                  <a:gd name="T11" fmla="*/ 328 h 579"/>
                  <a:gd name="T12" fmla="*/ 221 w 593"/>
                  <a:gd name="T13" fmla="*/ 336 h 579"/>
                  <a:gd name="T14" fmla="*/ 162 w 593"/>
                  <a:gd name="T15" fmla="*/ 335 h 579"/>
                  <a:gd name="T16" fmla="*/ 129 w 593"/>
                  <a:gd name="T17" fmla="*/ 244 h 579"/>
                  <a:gd name="T18" fmla="*/ 141 w 593"/>
                  <a:gd name="T19" fmla="*/ 212 h 579"/>
                  <a:gd name="T20" fmla="*/ 127 w 593"/>
                  <a:gd name="T21" fmla="*/ 215 h 579"/>
                  <a:gd name="T22" fmla="*/ 64 w 593"/>
                  <a:gd name="T23" fmla="*/ 225 h 579"/>
                  <a:gd name="T24" fmla="*/ 11 w 593"/>
                  <a:gd name="T25" fmla="*/ 180 h 579"/>
                  <a:gd name="T26" fmla="*/ 16 w 593"/>
                  <a:gd name="T27" fmla="*/ 102 h 579"/>
                  <a:gd name="T28" fmla="*/ 88 w 593"/>
                  <a:gd name="T29" fmla="*/ 23 h 579"/>
                  <a:gd name="T30" fmla="*/ 222 w 593"/>
                  <a:gd name="T31" fmla="*/ 61 h 579"/>
                  <a:gd name="T32" fmla="*/ 230 w 593"/>
                  <a:gd name="T33" fmla="*/ 120 h 579"/>
                  <a:gd name="T34" fmla="*/ 239 w 593"/>
                  <a:gd name="T35" fmla="*/ 130 h 579"/>
                  <a:gd name="T36" fmla="*/ 306 w 593"/>
                  <a:gd name="T37" fmla="*/ 143 h 579"/>
                  <a:gd name="T38" fmla="*/ 345 w 593"/>
                  <a:gd name="T39" fmla="*/ 234 h 579"/>
                  <a:gd name="T40" fmla="*/ 355 w 593"/>
                  <a:gd name="T41" fmla="*/ 245 h 579"/>
                  <a:gd name="T42" fmla="*/ 431 w 593"/>
                  <a:gd name="T43" fmla="*/ 265 h 579"/>
                  <a:gd name="T44" fmla="*/ 459 w 593"/>
                  <a:gd name="T45" fmla="*/ 360 h 579"/>
                  <a:gd name="T46" fmla="*/ 458 w 593"/>
                  <a:gd name="T47" fmla="*/ 369 h 579"/>
                  <a:gd name="T48" fmla="*/ 468 w 593"/>
                  <a:gd name="T49" fmla="*/ 369 h 579"/>
                  <a:gd name="T50" fmla="*/ 577 w 593"/>
                  <a:gd name="T51" fmla="*/ 424 h 579"/>
                  <a:gd name="T52" fmla="*/ 555 w 593"/>
                  <a:gd name="T53" fmla="*/ 530 h 579"/>
                  <a:gd name="T54" fmla="*/ 475 w 593"/>
                  <a:gd name="T55" fmla="*/ 574 h 579"/>
                  <a:gd name="T56" fmla="*/ 431 w 593"/>
                  <a:gd name="T57" fmla="*/ 579 h 579"/>
                  <a:gd name="T58" fmla="*/ 359 w 593"/>
                  <a:gd name="T59" fmla="*/ 531 h 579"/>
                  <a:gd name="T60" fmla="*/ 364 w 593"/>
                  <a:gd name="T61" fmla="*/ 473 h 579"/>
                  <a:gd name="T62" fmla="*/ 377 w 593"/>
                  <a:gd name="T63" fmla="*/ 444 h 579"/>
                  <a:gd name="T64" fmla="*/ 375 w 593"/>
                  <a:gd name="T65" fmla="*/ 442 h 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93" h="579">
                    <a:moveTo>
                      <a:pt x="375" y="442"/>
                    </a:moveTo>
                    <a:cubicBezTo>
                      <a:pt x="364" y="445"/>
                      <a:pt x="352" y="448"/>
                      <a:pt x="341" y="451"/>
                    </a:cubicBezTo>
                    <a:cubicBezTo>
                      <a:pt x="321" y="455"/>
                      <a:pt x="301" y="458"/>
                      <a:pt x="282" y="451"/>
                    </a:cubicBezTo>
                    <a:cubicBezTo>
                      <a:pt x="243" y="436"/>
                      <a:pt x="227" y="398"/>
                      <a:pt x="243" y="359"/>
                    </a:cubicBezTo>
                    <a:cubicBezTo>
                      <a:pt x="247" y="350"/>
                      <a:pt x="250" y="340"/>
                      <a:pt x="254" y="330"/>
                    </a:cubicBezTo>
                    <a:cubicBezTo>
                      <a:pt x="253" y="329"/>
                      <a:pt x="253" y="329"/>
                      <a:pt x="252" y="328"/>
                    </a:cubicBezTo>
                    <a:cubicBezTo>
                      <a:pt x="242" y="331"/>
                      <a:pt x="232" y="334"/>
                      <a:pt x="221" y="336"/>
                    </a:cubicBezTo>
                    <a:cubicBezTo>
                      <a:pt x="202" y="341"/>
                      <a:pt x="182" y="344"/>
                      <a:pt x="162" y="335"/>
                    </a:cubicBezTo>
                    <a:cubicBezTo>
                      <a:pt x="127" y="318"/>
                      <a:pt x="113" y="280"/>
                      <a:pt x="129" y="244"/>
                    </a:cubicBezTo>
                    <a:cubicBezTo>
                      <a:pt x="133" y="234"/>
                      <a:pt x="136" y="225"/>
                      <a:pt x="141" y="212"/>
                    </a:cubicBezTo>
                    <a:cubicBezTo>
                      <a:pt x="135" y="214"/>
                      <a:pt x="131" y="214"/>
                      <a:pt x="127" y="215"/>
                    </a:cubicBezTo>
                    <a:cubicBezTo>
                      <a:pt x="106" y="221"/>
                      <a:pt x="86" y="229"/>
                      <a:pt x="64" y="225"/>
                    </a:cubicBezTo>
                    <a:cubicBezTo>
                      <a:pt x="38" y="220"/>
                      <a:pt x="21" y="204"/>
                      <a:pt x="11" y="180"/>
                    </a:cubicBezTo>
                    <a:cubicBezTo>
                      <a:pt x="0" y="154"/>
                      <a:pt x="5" y="127"/>
                      <a:pt x="16" y="102"/>
                    </a:cubicBezTo>
                    <a:cubicBezTo>
                      <a:pt x="31" y="67"/>
                      <a:pt x="53" y="38"/>
                      <a:pt x="88" y="23"/>
                    </a:cubicBezTo>
                    <a:cubicBezTo>
                      <a:pt x="137" y="0"/>
                      <a:pt x="195" y="12"/>
                      <a:pt x="222" y="61"/>
                    </a:cubicBezTo>
                    <a:cubicBezTo>
                      <a:pt x="233" y="79"/>
                      <a:pt x="233" y="100"/>
                      <a:pt x="230" y="120"/>
                    </a:cubicBezTo>
                    <a:cubicBezTo>
                      <a:pt x="229" y="129"/>
                      <a:pt x="231" y="130"/>
                      <a:pt x="239" y="130"/>
                    </a:cubicBezTo>
                    <a:cubicBezTo>
                      <a:pt x="263" y="127"/>
                      <a:pt x="286" y="130"/>
                      <a:pt x="306" y="143"/>
                    </a:cubicBezTo>
                    <a:cubicBezTo>
                      <a:pt x="340" y="164"/>
                      <a:pt x="350" y="196"/>
                      <a:pt x="345" y="234"/>
                    </a:cubicBezTo>
                    <a:cubicBezTo>
                      <a:pt x="344" y="245"/>
                      <a:pt x="344" y="246"/>
                      <a:pt x="355" y="245"/>
                    </a:cubicBezTo>
                    <a:cubicBezTo>
                      <a:pt x="383" y="242"/>
                      <a:pt x="409" y="247"/>
                      <a:pt x="431" y="265"/>
                    </a:cubicBezTo>
                    <a:cubicBezTo>
                      <a:pt x="461" y="290"/>
                      <a:pt x="467" y="325"/>
                      <a:pt x="459" y="360"/>
                    </a:cubicBezTo>
                    <a:cubicBezTo>
                      <a:pt x="459" y="363"/>
                      <a:pt x="458" y="366"/>
                      <a:pt x="458" y="369"/>
                    </a:cubicBezTo>
                    <a:cubicBezTo>
                      <a:pt x="461" y="369"/>
                      <a:pt x="465" y="370"/>
                      <a:pt x="468" y="369"/>
                    </a:cubicBezTo>
                    <a:cubicBezTo>
                      <a:pt x="514" y="358"/>
                      <a:pt x="560" y="381"/>
                      <a:pt x="577" y="424"/>
                    </a:cubicBezTo>
                    <a:cubicBezTo>
                      <a:pt x="593" y="464"/>
                      <a:pt x="583" y="499"/>
                      <a:pt x="555" y="530"/>
                    </a:cubicBezTo>
                    <a:cubicBezTo>
                      <a:pt x="534" y="554"/>
                      <a:pt x="506" y="568"/>
                      <a:pt x="475" y="574"/>
                    </a:cubicBezTo>
                    <a:cubicBezTo>
                      <a:pt x="461" y="577"/>
                      <a:pt x="446" y="579"/>
                      <a:pt x="431" y="579"/>
                    </a:cubicBezTo>
                    <a:cubicBezTo>
                      <a:pt x="397" y="578"/>
                      <a:pt x="372" y="562"/>
                      <a:pt x="359" y="531"/>
                    </a:cubicBezTo>
                    <a:cubicBezTo>
                      <a:pt x="351" y="511"/>
                      <a:pt x="356" y="492"/>
                      <a:pt x="364" y="473"/>
                    </a:cubicBezTo>
                    <a:cubicBezTo>
                      <a:pt x="368" y="463"/>
                      <a:pt x="373" y="454"/>
                      <a:pt x="377" y="444"/>
                    </a:cubicBezTo>
                    <a:cubicBezTo>
                      <a:pt x="376" y="443"/>
                      <a:pt x="376" y="443"/>
                      <a:pt x="375" y="442"/>
                    </a:cubicBezTo>
                    <a:close/>
                  </a:path>
                </a:pathLst>
              </a:custGeom>
              <a:solidFill>
                <a:sysClr val="window" lastClr="FFFFFF">
                  <a:lumMod val="75000"/>
                </a:sysClr>
              </a:solidFill>
              <a:ln w="12700">
                <a:solidFill>
                  <a:sysClr val="window" lastClr="FFFFFF"/>
                </a:solidFill>
                <a:round/>
                <a:headEnd/>
                <a:tailEnd/>
              </a:ln>
            </p:spPr>
            <p:txBody>
              <a:bodyPr vert="horz" wrap="square" lIns="68580" tIns="34290" rIns="68580" bIns="34290" numCol="1" anchor="t" anchorCtr="0" compatLnSpc="1">
                <a:prstTxWarp prst="textNoShape">
                  <a:avLst/>
                </a:prstTxWarp>
                <a:norm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a:endParaRPr>
              </a:p>
            </p:txBody>
          </p:sp>
        </p:grpSp>
        <p:sp>
          <p:nvSpPr>
            <p:cNvPr id="36" name="Freeform 5">
              <a:extLst>
                <a:ext uri="{FF2B5EF4-FFF2-40B4-BE49-F238E27FC236}">
                  <a16:creationId xmlns:a16="http://schemas.microsoft.com/office/drawing/2014/main" id="{4E156B91-475E-41E4-A155-AEC39014F6A8}"/>
                </a:ext>
              </a:extLst>
            </p:cNvPr>
            <p:cNvSpPr>
              <a:spLocks/>
            </p:cNvSpPr>
            <p:nvPr/>
          </p:nvSpPr>
          <p:spPr bwMode="auto">
            <a:xfrm>
              <a:off x="976727" y="1903341"/>
              <a:ext cx="823992" cy="694932"/>
            </a:xfrm>
            <a:custGeom>
              <a:avLst/>
              <a:gdLst>
                <a:gd name="T0" fmla="*/ 868 w 1438"/>
                <a:gd name="T1" fmla="*/ 975 h 1212"/>
                <a:gd name="T2" fmla="*/ 982 w 1438"/>
                <a:gd name="T3" fmla="*/ 1120 h 1212"/>
                <a:gd name="T4" fmla="*/ 844 w 1438"/>
                <a:gd name="T5" fmla="*/ 1180 h 1212"/>
                <a:gd name="T6" fmla="*/ 809 w 1438"/>
                <a:gd name="T7" fmla="*/ 1129 h 1212"/>
                <a:gd name="T8" fmla="*/ 697 w 1438"/>
                <a:gd name="T9" fmla="*/ 952 h 1212"/>
                <a:gd name="T10" fmla="*/ 587 w 1438"/>
                <a:gd name="T11" fmla="*/ 833 h 1212"/>
                <a:gd name="T12" fmla="*/ 483 w 1438"/>
                <a:gd name="T13" fmla="*/ 723 h 1212"/>
                <a:gd name="T14" fmla="*/ 444 w 1438"/>
                <a:gd name="T15" fmla="*/ 686 h 1212"/>
                <a:gd name="T16" fmla="*/ 134 w 1438"/>
                <a:gd name="T17" fmla="*/ 652 h 1212"/>
                <a:gd name="T18" fmla="*/ 87 w 1438"/>
                <a:gd name="T19" fmla="*/ 713 h 1212"/>
                <a:gd name="T20" fmla="*/ 0 w 1438"/>
                <a:gd name="T21" fmla="*/ 91 h 1212"/>
                <a:gd name="T22" fmla="*/ 168 w 1438"/>
                <a:gd name="T23" fmla="*/ 147 h 1212"/>
                <a:gd name="T24" fmla="*/ 353 w 1438"/>
                <a:gd name="T25" fmla="*/ 133 h 1212"/>
                <a:gd name="T26" fmla="*/ 639 w 1438"/>
                <a:gd name="T27" fmla="*/ 4 h 1212"/>
                <a:gd name="T28" fmla="*/ 789 w 1438"/>
                <a:gd name="T29" fmla="*/ 35 h 1212"/>
                <a:gd name="T30" fmla="*/ 813 w 1438"/>
                <a:gd name="T31" fmla="*/ 70 h 1212"/>
                <a:gd name="T32" fmla="*/ 551 w 1438"/>
                <a:gd name="T33" fmla="*/ 228 h 1212"/>
                <a:gd name="T34" fmla="*/ 682 w 1438"/>
                <a:gd name="T35" fmla="*/ 508 h 1212"/>
                <a:gd name="T36" fmla="*/ 942 w 1438"/>
                <a:gd name="T37" fmla="*/ 408 h 1212"/>
                <a:gd name="T38" fmla="*/ 1383 w 1438"/>
                <a:gd name="T39" fmla="*/ 740 h 1212"/>
                <a:gd name="T40" fmla="*/ 1370 w 1438"/>
                <a:gd name="T41" fmla="*/ 882 h 1212"/>
                <a:gd name="T42" fmla="*/ 1181 w 1438"/>
                <a:gd name="T43" fmla="*/ 764 h 1212"/>
                <a:gd name="T44" fmla="*/ 1154 w 1438"/>
                <a:gd name="T45" fmla="*/ 750 h 1212"/>
                <a:gd name="T46" fmla="*/ 1234 w 1438"/>
                <a:gd name="T47" fmla="*/ 846 h 1212"/>
                <a:gd name="T48" fmla="*/ 1241 w 1438"/>
                <a:gd name="T49" fmla="*/ 1005 h 1212"/>
                <a:gd name="T50" fmla="*/ 1082 w 1438"/>
                <a:gd name="T51" fmla="*/ 922 h 1212"/>
                <a:gd name="T52" fmla="*/ 985 w 1438"/>
                <a:gd name="T53" fmla="*/ 849 h 1212"/>
                <a:gd name="T54" fmla="*/ 989 w 1438"/>
                <a:gd name="T55" fmla="*/ 861 h 1212"/>
                <a:gd name="T56" fmla="*/ 1113 w 1438"/>
                <a:gd name="T57" fmla="*/ 979 h 1212"/>
                <a:gd name="T58" fmla="*/ 1083 w 1438"/>
                <a:gd name="T59" fmla="*/ 1110 h 1212"/>
                <a:gd name="T60" fmla="*/ 913 w 1438"/>
                <a:gd name="T61" fmla="*/ 1000 h 1212"/>
                <a:gd name="T62" fmla="*/ 863 w 1438"/>
                <a:gd name="T63" fmla="*/ 959 h 1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38" h="1212">
                  <a:moveTo>
                    <a:pt x="860" y="962"/>
                  </a:moveTo>
                  <a:cubicBezTo>
                    <a:pt x="862" y="966"/>
                    <a:pt x="864" y="971"/>
                    <a:pt x="868" y="975"/>
                  </a:cubicBezTo>
                  <a:cubicBezTo>
                    <a:pt x="897" y="1008"/>
                    <a:pt x="927" y="1041"/>
                    <a:pt x="957" y="1073"/>
                  </a:cubicBezTo>
                  <a:cubicBezTo>
                    <a:pt x="970" y="1087"/>
                    <a:pt x="979" y="1101"/>
                    <a:pt x="982" y="1120"/>
                  </a:cubicBezTo>
                  <a:cubicBezTo>
                    <a:pt x="986" y="1153"/>
                    <a:pt x="966" y="1189"/>
                    <a:pt x="935" y="1200"/>
                  </a:cubicBezTo>
                  <a:cubicBezTo>
                    <a:pt x="901" y="1212"/>
                    <a:pt x="870" y="1206"/>
                    <a:pt x="844" y="1180"/>
                  </a:cubicBezTo>
                  <a:cubicBezTo>
                    <a:pt x="835" y="1170"/>
                    <a:pt x="826" y="1159"/>
                    <a:pt x="816" y="1150"/>
                  </a:cubicBezTo>
                  <a:cubicBezTo>
                    <a:pt x="810" y="1144"/>
                    <a:pt x="808" y="1137"/>
                    <a:pt x="809" y="1129"/>
                  </a:cubicBezTo>
                  <a:cubicBezTo>
                    <a:pt x="813" y="1085"/>
                    <a:pt x="803" y="1045"/>
                    <a:pt x="776" y="1010"/>
                  </a:cubicBezTo>
                  <a:cubicBezTo>
                    <a:pt x="756" y="983"/>
                    <a:pt x="729" y="964"/>
                    <a:pt x="697" y="952"/>
                  </a:cubicBezTo>
                  <a:cubicBezTo>
                    <a:pt x="690" y="950"/>
                    <a:pt x="685" y="946"/>
                    <a:pt x="682" y="938"/>
                  </a:cubicBezTo>
                  <a:cubicBezTo>
                    <a:pt x="667" y="888"/>
                    <a:pt x="635" y="853"/>
                    <a:pt x="587" y="833"/>
                  </a:cubicBezTo>
                  <a:cubicBezTo>
                    <a:pt x="574" y="827"/>
                    <a:pt x="567" y="821"/>
                    <a:pt x="561" y="808"/>
                  </a:cubicBezTo>
                  <a:cubicBezTo>
                    <a:pt x="546" y="770"/>
                    <a:pt x="520" y="741"/>
                    <a:pt x="483" y="723"/>
                  </a:cubicBezTo>
                  <a:cubicBezTo>
                    <a:pt x="481" y="722"/>
                    <a:pt x="479" y="720"/>
                    <a:pt x="477" y="720"/>
                  </a:cubicBezTo>
                  <a:cubicBezTo>
                    <a:pt x="458" y="716"/>
                    <a:pt x="451" y="703"/>
                    <a:pt x="444" y="686"/>
                  </a:cubicBezTo>
                  <a:cubicBezTo>
                    <a:pt x="422" y="637"/>
                    <a:pt x="383" y="607"/>
                    <a:pt x="331" y="595"/>
                  </a:cubicBezTo>
                  <a:cubicBezTo>
                    <a:pt x="255" y="577"/>
                    <a:pt x="189" y="595"/>
                    <a:pt x="134" y="652"/>
                  </a:cubicBezTo>
                  <a:cubicBezTo>
                    <a:pt x="119" y="668"/>
                    <a:pt x="108" y="687"/>
                    <a:pt x="100" y="707"/>
                  </a:cubicBezTo>
                  <a:cubicBezTo>
                    <a:pt x="97" y="714"/>
                    <a:pt x="94" y="716"/>
                    <a:pt x="87" y="713"/>
                  </a:cubicBezTo>
                  <a:cubicBezTo>
                    <a:pt x="59" y="703"/>
                    <a:pt x="30" y="693"/>
                    <a:pt x="0" y="683"/>
                  </a:cubicBezTo>
                  <a:cubicBezTo>
                    <a:pt x="0" y="486"/>
                    <a:pt x="0" y="289"/>
                    <a:pt x="0" y="91"/>
                  </a:cubicBezTo>
                  <a:cubicBezTo>
                    <a:pt x="12" y="95"/>
                    <a:pt x="23" y="98"/>
                    <a:pt x="34" y="102"/>
                  </a:cubicBezTo>
                  <a:cubicBezTo>
                    <a:pt x="79" y="117"/>
                    <a:pt x="123" y="132"/>
                    <a:pt x="168" y="147"/>
                  </a:cubicBezTo>
                  <a:cubicBezTo>
                    <a:pt x="192" y="156"/>
                    <a:pt x="216" y="163"/>
                    <a:pt x="242" y="164"/>
                  </a:cubicBezTo>
                  <a:cubicBezTo>
                    <a:pt x="282" y="166"/>
                    <a:pt x="318" y="155"/>
                    <a:pt x="353" y="133"/>
                  </a:cubicBezTo>
                  <a:cubicBezTo>
                    <a:pt x="416" y="94"/>
                    <a:pt x="481" y="59"/>
                    <a:pt x="550" y="32"/>
                  </a:cubicBezTo>
                  <a:cubicBezTo>
                    <a:pt x="579" y="20"/>
                    <a:pt x="609" y="10"/>
                    <a:pt x="639" y="4"/>
                  </a:cubicBezTo>
                  <a:cubicBezTo>
                    <a:pt x="663" y="0"/>
                    <a:pt x="689" y="1"/>
                    <a:pt x="714" y="7"/>
                  </a:cubicBezTo>
                  <a:cubicBezTo>
                    <a:pt x="741" y="13"/>
                    <a:pt x="766" y="21"/>
                    <a:pt x="789" y="35"/>
                  </a:cubicBezTo>
                  <a:cubicBezTo>
                    <a:pt x="798" y="41"/>
                    <a:pt x="807" y="48"/>
                    <a:pt x="815" y="55"/>
                  </a:cubicBezTo>
                  <a:cubicBezTo>
                    <a:pt x="824" y="62"/>
                    <a:pt x="823" y="64"/>
                    <a:pt x="813" y="70"/>
                  </a:cubicBezTo>
                  <a:cubicBezTo>
                    <a:pt x="747" y="106"/>
                    <a:pt x="681" y="142"/>
                    <a:pt x="615" y="179"/>
                  </a:cubicBezTo>
                  <a:cubicBezTo>
                    <a:pt x="592" y="192"/>
                    <a:pt x="570" y="207"/>
                    <a:pt x="551" y="228"/>
                  </a:cubicBezTo>
                  <a:cubicBezTo>
                    <a:pt x="475" y="312"/>
                    <a:pt x="503" y="445"/>
                    <a:pt x="607" y="492"/>
                  </a:cubicBezTo>
                  <a:cubicBezTo>
                    <a:pt x="631" y="502"/>
                    <a:pt x="656" y="508"/>
                    <a:pt x="682" y="508"/>
                  </a:cubicBezTo>
                  <a:cubicBezTo>
                    <a:pt x="710" y="508"/>
                    <a:pt x="736" y="499"/>
                    <a:pt x="761" y="488"/>
                  </a:cubicBezTo>
                  <a:cubicBezTo>
                    <a:pt x="821" y="461"/>
                    <a:pt x="881" y="434"/>
                    <a:pt x="942" y="408"/>
                  </a:cubicBezTo>
                  <a:cubicBezTo>
                    <a:pt x="988" y="388"/>
                    <a:pt x="1030" y="399"/>
                    <a:pt x="1065" y="432"/>
                  </a:cubicBezTo>
                  <a:cubicBezTo>
                    <a:pt x="1171" y="534"/>
                    <a:pt x="1277" y="638"/>
                    <a:pt x="1383" y="740"/>
                  </a:cubicBezTo>
                  <a:cubicBezTo>
                    <a:pt x="1394" y="751"/>
                    <a:pt x="1406" y="762"/>
                    <a:pt x="1414" y="775"/>
                  </a:cubicBezTo>
                  <a:cubicBezTo>
                    <a:pt x="1438" y="816"/>
                    <a:pt x="1415" y="868"/>
                    <a:pt x="1370" y="882"/>
                  </a:cubicBezTo>
                  <a:cubicBezTo>
                    <a:pt x="1337" y="892"/>
                    <a:pt x="1310" y="883"/>
                    <a:pt x="1285" y="860"/>
                  </a:cubicBezTo>
                  <a:cubicBezTo>
                    <a:pt x="1251" y="828"/>
                    <a:pt x="1216" y="795"/>
                    <a:pt x="1181" y="764"/>
                  </a:cubicBezTo>
                  <a:cubicBezTo>
                    <a:pt x="1174" y="757"/>
                    <a:pt x="1165" y="753"/>
                    <a:pt x="1157" y="747"/>
                  </a:cubicBezTo>
                  <a:cubicBezTo>
                    <a:pt x="1156" y="748"/>
                    <a:pt x="1155" y="749"/>
                    <a:pt x="1154" y="750"/>
                  </a:cubicBezTo>
                  <a:cubicBezTo>
                    <a:pt x="1156" y="753"/>
                    <a:pt x="1156" y="757"/>
                    <a:pt x="1159" y="759"/>
                  </a:cubicBezTo>
                  <a:cubicBezTo>
                    <a:pt x="1184" y="788"/>
                    <a:pt x="1208" y="818"/>
                    <a:pt x="1234" y="846"/>
                  </a:cubicBezTo>
                  <a:cubicBezTo>
                    <a:pt x="1245" y="859"/>
                    <a:pt x="1256" y="870"/>
                    <a:pt x="1267" y="882"/>
                  </a:cubicBezTo>
                  <a:cubicBezTo>
                    <a:pt x="1307" y="924"/>
                    <a:pt x="1295" y="984"/>
                    <a:pt x="1241" y="1005"/>
                  </a:cubicBezTo>
                  <a:cubicBezTo>
                    <a:pt x="1214" y="1015"/>
                    <a:pt x="1187" y="1011"/>
                    <a:pt x="1164" y="993"/>
                  </a:cubicBezTo>
                  <a:cubicBezTo>
                    <a:pt x="1136" y="970"/>
                    <a:pt x="1110" y="945"/>
                    <a:pt x="1082" y="922"/>
                  </a:cubicBezTo>
                  <a:cubicBezTo>
                    <a:pt x="1053" y="899"/>
                    <a:pt x="1023" y="876"/>
                    <a:pt x="994" y="853"/>
                  </a:cubicBezTo>
                  <a:cubicBezTo>
                    <a:pt x="991" y="851"/>
                    <a:pt x="988" y="850"/>
                    <a:pt x="985" y="849"/>
                  </a:cubicBezTo>
                  <a:cubicBezTo>
                    <a:pt x="984" y="850"/>
                    <a:pt x="983" y="850"/>
                    <a:pt x="983" y="851"/>
                  </a:cubicBezTo>
                  <a:cubicBezTo>
                    <a:pt x="985" y="855"/>
                    <a:pt x="987" y="858"/>
                    <a:pt x="989" y="861"/>
                  </a:cubicBezTo>
                  <a:cubicBezTo>
                    <a:pt x="1020" y="891"/>
                    <a:pt x="1050" y="921"/>
                    <a:pt x="1081" y="951"/>
                  </a:cubicBezTo>
                  <a:cubicBezTo>
                    <a:pt x="1091" y="961"/>
                    <a:pt x="1102" y="970"/>
                    <a:pt x="1113" y="979"/>
                  </a:cubicBezTo>
                  <a:cubicBezTo>
                    <a:pt x="1137" y="1000"/>
                    <a:pt x="1145" y="1026"/>
                    <a:pt x="1138" y="1057"/>
                  </a:cubicBezTo>
                  <a:cubicBezTo>
                    <a:pt x="1131" y="1085"/>
                    <a:pt x="1111" y="1103"/>
                    <a:pt x="1083" y="1110"/>
                  </a:cubicBezTo>
                  <a:cubicBezTo>
                    <a:pt x="1052" y="1118"/>
                    <a:pt x="1025" y="1110"/>
                    <a:pt x="1002" y="1087"/>
                  </a:cubicBezTo>
                  <a:cubicBezTo>
                    <a:pt x="973" y="1058"/>
                    <a:pt x="943" y="1029"/>
                    <a:pt x="913" y="1000"/>
                  </a:cubicBezTo>
                  <a:cubicBezTo>
                    <a:pt x="900" y="988"/>
                    <a:pt x="887" y="978"/>
                    <a:pt x="874" y="967"/>
                  </a:cubicBezTo>
                  <a:cubicBezTo>
                    <a:pt x="871" y="964"/>
                    <a:pt x="866" y="962"/>
                    <a:pt x="863" y="959"/>
                  </a:cubicBezTo>
                  <a:cubicBezTo>
                    <a:pt x="862" y="960"/>
                    <a:pt x="861" y="961"/>
                    <a:pt x="860" y="962"/>
                  </a:cubicBezTo>
                  <a:close/>
                </a:path>
              </a:pathLst>
            </a:custGeom>
            <a:solidFill>
              <a:sysClr val="windowText" lastClr="000000">
                <a:lumMod val="50000"/>
                <a:lumOff val="50000"/>
              </a:sysClr>
            </a:solidFill>
            <a:ln w="12700">
              <a:solidFill>
                <a:sysClr val="window" lastClr="FFFFFF"/>
              </a:solidFill>
            </a:ln>
          </p:spPr>
          <p:txBody>
            <a:bodyPr vert="horz" wrap="square" lIns="68580" tIns="34290" rIns="68580" bIns="34290" numCol="1" anchor="t" anchorCtr="0" compatLnSpc="1">
              <a:prstTxWarp prst="textNoShape">
                <a:avLst/>
              </a:prstTxWarp>
              <a:norm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a:endParaRPr>
            </a:p>
          </p:txBody>
        </p:sp>
      </p:grpSp>
      <p:grpSp>
        <p:nvGrpSpPr>
          <p:cNvPr id="39" name="Group 38">
            <a:extLst>
              <a:ext uri="{FF2B5EF4-FFF2-40B4-BE49-F238E27FC236}">
                <a16:creationId xmlns:a16="http://schemas.microsoft.com/office/drawing/2014/main" id="{41A79F0E-0D1B-4678-8E7F-BBC986EC5D56}"/>
              </a:ext>
            </a:extLst>
          </p:cNvPr>
          <p:cNvGrpSpPr>
            <a:grpSpLocks noChangeAspect="1"/>
          </p:cNvGrpSpPr>
          <p:nvPr/>
        </p:nvGrpSpPr>
        <p:grpSpPr>
          <a:xfrm>
            <a:off x="559808" y="2270134"/>
            <a:ext cx="1683002" cy="1635370"/>
            <a:chOff x="5162194" y="235858"/>
            <a:chExt cx="2743200" cy="2743200"/>
          </a:xfrm>
        </p:grpSpPr>
        <p:sp>
          <p:nvSpPr>
            <p:cNvPr id="40" name="Oval 39">
              <a:extLst>
                <a:ext uri="{FF2B5EF4-FFF2-40B4-BE49-F238E27FC236}">
                  <a16:creationId xmlns:a16="http://schemas.microsoft.com/office/drawing/2014/main" id="{724389B7-43A5-4EA2-8E8B-7818B76E17CA}"/>
                </a:ext>
              </a:extLst>
            </p:cNvPr>
            <p:cNvSpPr/>
            <p:nvPr/>
          </p:nvSpPr>
          <p:spPr>
            <a:xfrm>
              <a:off x="5162194" y="235858"/>
              <a:ext cx="2743200" cy="2743200"/>
            </a:xfrm>
            <a:prstGeom prst="ellipse">
              <a:avLst/>
            </a:prstGeom>
            <a:solidFill>
              <a:sysClr val="window" lastClr="FFFFFF">
                <a:lumMod val="95000"/>
              </a:sysClr>
            </a:solidFill>
            <a:ln w="25400" cap="flat" cmpd="sng" algn="ctr">
              <a:noFill/>
              <a:prstDash val="solid"/>
            </a:ln>
            <a:effectLst>
              <a:outerShdw blurRad="203200" dist="127000" dir="2700000" algn="tl" rotWithShape="0">
                <a:prstClr val="black">
                  <a:alpha val="40000"/>
                </a:prstClr>
              </a:outerShdw>
            </a:effectLst>
            <a:scene3d>
              <a:camera prst="orthographicFront"/>
              <a:lightRig rig="threePt" dir="t">
                <a:rot lat="0" lon="0" rev="4800000"/>
              </a:lightRig>
            </a:scene3d>
            <a:sp3d extrusionH="266700">
              <a:bevelT w="431800" h="19050" prst="relaxedInset"/>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41" name="Oval 40">
              <a:extLst>
                <a:ext uri="{FF2B5EF4-FFF2-40B4-BE49-F238E27FC236}">
                  <a16:creationId xmlns:a16="http://schemas.microsoft.com/office/drawing/2014/main" id="{9BEB92C7-1DE9-4D48-BE0D-12CE39A27D63}"/>
                </a:ext>
              </a:extLst>
            </p:cNvPr>
            <p:cNvSpPr/>
            <p:nvPr/>
          </p:nvSpPr>
          <p:spPr>
            <a:xfrm>
              <a:off x="5448851" y="522515"/>
              <a:ext cx="2169886" cy="2169886"/>
            </a:xfrm>
            <a:prstGeom prst="ellipse">
              <a:avLst/>
            </a:prstGeom>
            <a:solidFill>
              <a:srgbClr val="144260"/>
            </a:solidFill>
            <a:ln w="25400" cap="flat" cmpd="sng" algn="ctr">
              <a:noFill/>
              <a:prstDash val="solid"/>
            </a:ln>
            <a:effectLst>
              <a:outerShdw blurRad="177800" dist="127000" dir="2700000" algn="tl" rotWithShape="0">
                <a:prstClr val="black">
                  <a:alpha val="40000"/>
                </a:prstClr>
              </a:outerShdw>
            </a:effectLst>
            <a:scene3d>
              <a:camera prst="orthographicFront"/>
              <a:lightRig rig="threePt" dir="t">
                <a:rot lat="0" lon="0" rev="4800000"/>
              </a:lightRig>
            </a:scene3d>
            <a:sp3d>
              <a:bevelT w="158750" h="1905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42" name="TextBox 41">
              <a:extLst>
                <a:ext uri="{FF2B5EF4-FFF2-40B4-BE49-F238E27FC236}">
                  <a16:creationId xmlns:a16="http://schemas.microsoft.com/office/drawing/2014/main" id="{439293A3-275D-4A0B-931A-9649740E6903}"/>
                </a:ext>
              </a:extLst>
            </p:cNvPr>
            <p:cNvSpPr txBox="1"/>
            <p:nvPr/>
          </p:nvSpPr>
          <p:spPr>
            <a:xfrm>
              <a:off x="5515828" y="1396338"/>
              <a:ext cx="2034604" cy="1084168"/>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96 Sans Light" panose="020C0304020203020204"/>
                </a:rPr>
                <a:t>Data Governance Office (DGO)</a:t>
              </a:r>
            </a:p>
          </p:txBody>
        </p:sp>
        <p:grpSp>
          <p:nvGrpSpPr>
            <p:cNvPr id="43" name="Group">
              <a:extLst>
                <a:ext uri="{FF2B5EF4-FFF2-40B4-BE49-F238E27FC236}">
                  <a16:creationId xmlns:a16="http://schemas.microsoft.com/office/drawing/2014/main" id="{D6F00C26-2331-49BD-A61F-CA54CF0836C1}"/>
                </a:ext>
              </a:extLst>
            </p:cNvPr>
            <p:cNvGrpSpPr/>
            <p:nvPr/>
          </p:nvGrpSpPr>
          <p:grpSpPr>
            <a:xfrm>
              <a:off x="6124295" y="771737"/>
              <a:ext cx="836281" cy="543691"/>
              <a:chOff x="9774729" y="1359058"/>
              <a:chExt cx="666591" cy="381536"/>
            </a:xfrm>
            <a:solidFill>
              <a:sysClr val="window" lastClr="FFFFFF">
                <a:lumMod val="95000"/>
              </a:sysClr>
            </a:solidFill>
          </p:grpSpPr>
          <p:sp>
            <p:nvSpPr>
              <p:cNvPr id="44" name="Freeform 350">
                <a:extLst>
                  <a:ext uri="{FF2B5EF4-FFF2-40B4-BE49-F238E27FC236}">
                    <a16:creationId xmlns:a16="http://schemas.microsoft.com/office/drawing/2014/main" id="{5317E600-3C57-49E8-9CF4-604ADB9C15E6}"/>
                  </a:ext>
                </a:extLst>
              </p:cNvPr>
              <p:cNvSpPr>
                <a:spLocks/>
              </p:cNvSpPr>
              <p:nvPr/>
            </p:nvSpPr>
            <p:spPr bwMode="auto">
              <a:xfrm>
                <a:off x="9900446" y="1359058"/>
                <a:ext cx="415158" cy="381536"/>
              </a:xfrm>
              <a:custGeom>
                <a:avLst/>
                <a:gdLst>
                  <a:gd name="T0" fmla="*/ 0 w 284"/>
                  <a:gd name="T1" fmla="*/ 252 h 261"/>
                  <a:gd name="T2" fmla="*/ 2 w 284"/>
                  <a:gd name="T3" fmla="*/ 257 h 261"/>
                  <a:gd name="T4" fmla="*/ 8 w 284"/>
                  <a:gd name="T5" fmla="*/ 261 h 261"/>
                  <a:gd name="T6" fmla="*/ 275 w 284"/>
                  <a:gd name="T7" fmla="*/ 261 h 261"/>
                  <a:gd name="T8" fmla="*/ 280 w 284"/>
                  <a:gd name="T9" fmla="*/ 257 h 261"/>
                  <a:gd name="T10" fmla="*/ 284 w 284"/>
                  <a:gd name="T11" fmla="*/ 252 h 261"/>
                  <a:gd name="T12" fmla="*/ 284 w 284"/>
                  <a:gd name="T13" fmla="*/ 234 h 261"/>
                  <a:gd name="T14" fmla="*/ 275 w 284"/>
                  <a:gd name="T15" fmla="*/ 208 h 261"/>
                  <a:gd name="T16" fmla="*/ 254 w 284"/>
                  <a:gd name="T17" fmla="*/ 186 h 261"/>
                  <a:gd name="T18" fmla="*/ 223 w 284"/>
                  <a:gd name="T19" fmla="*/ 168 h 261"/>
                  <a:gd name="T20" fmla="*/ 184 w 284"/>
                  <a:gd name="T21" fmla="*/ 156 h 261"/>
                  <a:gd name="T22" fmla="*/ 181 w 284"/>
                  <a:gd name="T23" fmla="*/ 155 h 261"/>
                  <a:gd name="T24" fmla="*/ 176 w 284"/>
                  <a:gd name="T25" fmla="*/ 150 h 261"/>
                  <a:gd name="T26" fmla="*/ 176 w 284"/>
                  <a:gd name="T27" fmla="*/ 148 h 261"/>
                  <a:gd name="T28" fmla="*/ 179 w 284"/>
                  <a:gd name="T29" fmla="*/ 142 h 261"/>
                  <a:gd name="T30" fmla="*/ 186 w 284"/>
                  <a:gd name="T31" fmla="*/ 135 h 261"/>
                  <a:gd name="T32" fmla="*/ 196 w 284"/>
                  <a:gd name="T33" fmla="*/ 120 h 261"/>
                  <a:gd name="T34" fmla="*/ 202 w 284"/>
                  <a:gd name="T35" fmla="*/ 94 h 261"/>
                  <a:gd name="T36" fmla="*/ 204 w 284"/>
                  <a:gd name="T37" fmla="*/ 73 h 261"/>
                  <a:gd name="T38" fmla="*/ 199 w 284"/>
                  <a:gd name="T39" fmla="*/ 44 h 261"/>
                  <a:gd name="T40" fmla="*/ 184 w 284"/>
                  <a:gd name="T41" fmla="*/ 21 h 261"/>
                  <a:gd name="T42" fmla="*/ 165 w 284"/>
                  <a:gd name="T43" fmla="*/ 5 h 261"/>
                  <a:gd name="T44" fmla="*/ 142 w 284"/>
                  <a:gd name="T45" fmla="*/ 0 h 261"/>
                  <a:gd name="T46" fmla="*/ 129 w 284"/>
                  <a:gd name="T47" fmla="*/ 1 h 261"/>
                  <a:gd name="T48" fmla="*/ 106 w 284"/>
                  <a:gd name="T49" fmla="*/ 11 h 261"/>
                  <a:gd name="T50" fmla="*/ 90 w 284"/>
                  <a:gd name="T51" fmla="*/ 31 h 261"/>
                  <a:gd name="T52" fmla="*/ 82 w 284"/>
                  <a:gd name="T53" fmla="*/ 58 h 261"/>
                  <a:gd name="T54" fmla="*/ 80 w 284"/>
                  <a:gd name="T55" fmla="*/ 73 h 261"/>
                  <a:gd name="T56" fmla="*/ 85 w 284"/>
                  <a:gd name="T57" fmla="*/ 112 h 261"/>
                  <a:gd name="T58" fmla="*/ 91 w 284"/>
                  <a:gd name="T59" fmla="*/ 128 h 261"/>
                  <a:gd name="T60" fmla="*/ 103 w 284"/>
                  <a:gd name="T61" fmla="*/ 142 h 261"/>
                  <a:gd name="T62" fmla="*/ 106 w 284"/>
                  <a:gd name="T63" fmla="*/ 143 h 261"/>
                  <a:gd name="T64" fmla="*/ 106 w 284"/>
                  <a:gd name="T65" fmla="*/ 148 h 261"/>
                  <a:gd name="T66" fmla="*/ 106 w 284"/>
                  <a:gd name="T67" fmla="*/ 150 h 261"/>
                  <a:gd name="T68" fmla="*/ 103 w 284"/>
                  <a:gd name="T69" fmla="*/ 155 h 261"/>
                  <a:gd name="T70" fmla="*/ 99 w 284"/>
                  <a:gd name="T71" fmla="*/ 156 h 261"/>
                  <a:gd name="T72" fmla="*/ 59 w 284"/>
                  <a:gd name="T73" fmla="*/ 168 h 261"/>
                  <a:gd name="T74" fmla="*/ 28 w 284"/>
                  <a:gd name="T75" fmla="*/ 186 h 261"/>
                  <a:gd name="T76" fmla="*/ 7 w 284"/>
                  <a:gd name="T77" fmla="*/ 208 h 261"/>
                  <a:gd name="T78" fmla="*/ 0 w 284"/>
                  <a:gd name="T79" fmla="*/ 234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4" h="261">
                    <a:moveTo>
                      <a:pt x="0" y="252"/>
                    </a:moveTo>
                    <a:lnTo>
                      <a:pt x="0" y="252"/>
                    </a:lnTo>
                    <a:lnTo>
                      <a:pt x="0" y="256"/>
                    </a:lnTo>
                    <a:lnTo>
                      <a:pt x="2" y="257"/>
                    </a:lnTo>
                    <a:lnTo>
                      <a:pt x="5" y="261"/>
                    </a:lnTo>
                    <a:lnTo>
                      <a:pt x="8" y="261"/>
                    </a:lnTo>
                    <a:lnTo>
                      <a:pt x="275" y="261"/>
                    </a:lnTo>
                    <a:lnTo>
                      <a:pt x="275" y="261"/>
                    </a:lnTo>
                    <a:lnTo>
                      <a:pt x="279" y="261"/>
                    </a:lnTo>
                    <a:lnTo>
                      <a:pt x="280" y="257"/>
                    </a:lnTo>
                    <a:lnTo>
                      <a:pt x="282" y="256"/>
                    </a:lnTo>
                    <a:lnTo>
                      <a:pt x="284" y="252"/>
                    </a:lnTo>
                    <a:lnTo>
                      <a:pt x="284" y="234"/>
                    </a:lnTo>
                    <a:lnTo>
                      <a:pt x="284" y="234"/>
                    </a:lnTo>
                    <a:lnTo>
                      <a:pt x="282" y="221"/>
                    </a:lnTo>
                    <a:lnTo>
                      <a:pt x="275" y="208"/>
                    </a:lnTo>
                    <a:lnTo>
                      <a:pt x="267" y="195"/>
                    </a:lnTo>
                    <a:lnTo>
                      <a:pt x="254" y="186"/>
                    </a:lnTo>
                    <a:lnTo>
                      <a:pt x="240" y="176"/>
                    </a:lnTo>
                    <a:lnTo>
                      <a:pt x="223" y="168"/>
                    </a:lnTo>
                    <a:lnTo>
                      <a:pt x="204" y="161"/>
                    </a:lnTo>
                    <a:lnTo>
                      <a:pt x="184" y="156"/>
                    </a:lnTo>
                    <a:lnTo>
                      <a:pt x="184" y="156"/>
                    </a:lnTo>
                    <a:lnTo>
                      <a:pt x="181" y="155"/>
                    </a:lnTo>
                    <a:lnTo>
                      <a:pt x="178" y="153"/>
                    </a:lnTo>
                    <a:lnTo>
                      <a:pt x="176" y="150"/>
                    </a:lnTo>
                    <a:lnTo>
                      <a:pt x="176" y="148"/>
                    </a:lnTo>
                    <a:lnTo>
                      <a:pt x="176" y="148"/>
                    </a:lnTo>
                    <a:lnTo>
                      <a:pt x="178" y="143"/>
                    </a:lnTo>
                    <a:lnTo>
                      <a:pt x="179" y="142"/>
                    </a:lnTo>
                    <a:lnTo>
                      <a:pt x="179" y="142"/>
                    </a:lnTo>
                    <a:lnTo>
                      <a:pt x="186" y="135"/>
                    </a:lnTo>
                    <a:lnTo>
                      <a:pt x="191" y="128"/>
                    </a:lnTo>
                    <a:lnTo>
                      <a:pt x="196" y="120"/>
                    </a:lnTo>
                    <a:lnTo>
                      <a:pt x="199" y="112"/>
                    </a:lnTo>
                    <a:lnTo>
                      <a:pt x="202" y="94"/>
                    </a:lnTo>
                    <a:lnTo>
                      <a:pt x="204" y="73"/>
                    </a:lnTo>
                    <a:lnTo>
                      <a:pt x="204" y="73"/>
                    </a:lnTo>
                    <a:lnTo>
                      <a:pt x="202" y="58"/>
                    </a:lnTo>
                    <a:lnTo>
                      <a:pt x="199" y="44"/>
                    </a:lnTo>
                    <a:lnTo>
                      <a:pt x="192" y="31"/>
                    </a:lnTo>
                    <a:lnTo>
                      <a:pt x="184" y="21"/>
                    </a:lnTo>
                    <a:lnTo>
                      <a:pt x="176" y="11"/>
                    </a:lnTo>
                    <a:lnTo>
                      <a:pt x="165" y="5"/>
                    </a:lnTo>
                    <a:lnTo>
                      <a:pt x="153" y="1"/>
                    </a:lnTo>
                    <a:lnTo>
                      <a:pt x="142" y="0"/>
                    </a:lnTo>
                    <a:lnTo>
                      <a:pt x="142" y="0"/>
                    </a:lnTo>
                    <a:lnTo>
                      <a:pt x="129" y="1"/>
                    </a:lnTo>
                    <a:lnTo>
                      <a:pt x="117" y="5"/>
                    </a:lnTo>
                    <a:lnTo>
                      <a:pt x="106" y="11"/>
                    </a:lnTo>
                    <a:lnTo>
                      <a:pt x="98" y="21"/>
                    </a:lnTo>
                    <a:lnTo>
                      <a:pt x="90" y="31"/>
                    </a:lnTo>
                    <a:lnTo>
                      <a:pt x="85" y="44"/>
                    </a:lnTo>
                    <a:lnTo>
                      <a:pt x="82" y="58"/>
                    </a:lnTo>
                    <a:lnTo>
                      <a:pt x="80" y="73"/>
                    </a:lnTo>
                    <a:lnTo>
                      <a:pt x="80" y="73"/>
                    </a:lnTo>
                    <a:lnTo>
                      <a:pt x="80" y="94"/>
                    </a:lnTo>
                    <a:lnTo>
                      <a:pt x="85" y="112"/>
                    </a:lnTo>
                    <a:lnTo>
                      <a:pt x="88" y="120"/>
                    </a:lnTo>
                    <a:lnTo>
                      <a:pt x="91" y="128"/>
                    </a:lnTo>
                    <a:lnTo>
                      <a:pt x="96" y="135"/>
                    </a:lnTo>
                    <a:lnTo>
                      <a:pt x="103" y="142"/>
                    </a:lnTo>
                    <a:lnTo>
                      <a:pt x="103" y="142"/>
                    </a:lnTo>
                    <a:lnTo>
                      <a:pt x="106" y="143"/>
                    </a:lnTo>
                    <a:lnTo>
                      <a:pt x="106" y="148"/>
                    </a:lnTo>
                    <a:lnTo>
                      <a:pt x="106" y="148"/>
                    </a:lnTo>
                    <a:lnTo>
                      <a:pt x="106" y="148"/>
                    </a:lnTo>
                    <a:lnTo>
                      <a:pt x="106" y="150"/>
                    </a:lnTo>
                    <a:lnTo>
                      <a:pt x="104" y="153"/>
                    </a:lnTo>
                    <a:lnTo>
                      <a:pt x="103" y="155"/>
                    </a:lnTo>
                    <a:lnTo>
                      <a:pt x="99" y="156"/>
                    </a:lnTo>
                    <a:lnTo>
                      <a:pt x="99" y="156"/>
                    </a:lnTo>
                    <a:lnTo>
                      <a:pt x="78" y="161"/>
                    </a:lnTo>
                    <a:lnTo>
                      <a:pt x="59" y="168"/>
                    </a:lnTo>
                    <a:lnTo>
                      <a:pt x="42" y="176"/>
                    </a:lnTo>
                    <a:lnTo>
                      <a:pt x="28" y="186"/>
                    </a:lnTo>
                    <a:lnTo>
                      <a:pt x="16" y="195"/>
                    </a:lnTo>
                    <a:lnTo>
                      <a:pt x="7" y="208"/>
                    </a:lnTo>
                    <a:lnTo>
                      <a:pt x="2" y="221"/>
                    </a:lnTo>
                    <a:lnTo>
                      <a:pt x="0" y="234"/>
                    </a:lnTo>
                    <a:lnTo>
                      <a:pt x="0" y="2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a:endParaRPr>
              </a:p>
            </p:txBody>
          </p:sp>
          <p:sp>
            <p:nvSpPr>
              <p:cNvPr id="45" name="Freeform 351">
                <a:extLst>
                  <a:ext uri="{FF2B5EF4-FFF2-40B4-BE49-F238E27FC236}">
                    <a16:creationId xmlns:a16="http://schemas.microsoft.com/office/drawing/2014/main" id="{6C3B97E9-AD95-4F04-9608-22EB355F2229}"/>
                  </a:ext>
                </a:extLst>
              </p:cNvPr>
              <p:cNvSpPr>
                <a:spLocks/>
              </p:cNvSpPr>
              <p:nvPr/>
            </p:nvSpPr>
            <p:spPr bwMode="auto">
              <a:xfrm>
                <a:off x="9774729" y="1408760"/>
                <a:ext cx="216350" cy="280670"/>
              </a:xfrm>
              <a:custGeom>
                <a:avLst/>
                <a:gdLst>
                  <a:gd name="T0" fmla="*/ 135 w 148"/>
                  <a:gd name="T1" fmla="*/ 124 h 192"/>
                  <a:gd name="T2" fmla="*/ 138 w 148"/>
                  <a:gd name="T3" fmla="*/ 119 h 192"/>
                  <a:gd name="T4" fmla="*/ 135 w 148"/>
                  <a:gd name="T5" fmla="*/ 116 h 192"/>
                  <a:gd name="T6" fmla="*/ 133 w 148"/>
                  <a:gd name="T7" fmla="*/ 116 h 192"/>
                  <a:gd name="T8" fmla="*/ 130 w 148"/>
                  <a:gd name="T9" fmla="*/ 112 h 192"/>
                  <a:gd name="T10" fmla="*/ 128 w 148"/>
                  <a:gd name="T11" fmla="*/ 109 h 192"/>
                  <a:gd name="T12" fmla="*/ 132 w 148"/>
                  <a:gd name="T13" fmla="*/ 104 h 192"/>
                  <a:gd name="T14" fmla="*/ 137 w 148"/>
                  <a:gd name="T15" fmla="*/ 99 h 192"/>
                  <a:gd name="T16" fmla="*/ 145 w 148"/>
                  <a:gd name="T17" fmla="*/ 83 h 192"/>
                  <a:gd name="T18" fmla="*/ 148 w 148"/>
                  <a:gd name="T19" fmla="*/ 54 h 192"/>
                  <a:gd name="T20" fmla="*/ 148 w 148"/>
                  <a:gd name="T21" fmla="*/ 42 h 192"/>
                  <a:gd name="T22" fmla="*/ 141 w 148"/>
                  <a:gd name="T23" fmla="*/ 23 h 192"/>
                  <a:gd name="T24" fmla="*/ 128 w 148"/>
                  <a:gd name="T25" fmla="*/ 10 h 192"/>
                  <a:gd name="T26" fmla="*/ 112 w 148"/>
                  <a:gd name="T27" fmla="*/ 2 h 192"/>
                  <a:gd name="T28" fmla="*/ 102 w 148"/>
                  <a:gd name="T29" fmla="*/ 0 h 192"/>
                  <a:gd name="T30" fmla="*/ 86 w 148"/>
                  <a:gd name="T31" fmla="*/ 5 h 192"/>
                  <a:gd name="T32" fmla="*/ 71 w 148"/>
                  <a:gd name="T33" fmla="*/ 16 h 192"/>
                  <a:gd name="T34" fmla="*/ 62 w 148"/>
                  <a:gd name="T35" fmla="*/ 33 h 192"/>
                  <a:gd name="T36" fmla="*/ 58 w 148"/>
                  <a:gd name="T37" fmla="*/ 54 h 192"/>
                  <a:gd name="T38" fmla="*/ 58 w 148"/>
                  <a:gd name="T39" fmla="*/ 70 h 192"/>
                  <a:gd name="T40" fmla="*/ 66 w 148"/>
                  <a:gd name="T41" fmla="*/ 94 h 192"/>
                  <a:gd name="T42" fmla="*/ 75 w 148"/>
                  <a:gd name="T43" fmla="*/ 104 h 192"/>
                  <a:gd name="T44" fmla="*/ 76 w 148"/>
                  <a:gd name="T45" fmla="*/ 106 h 192"/>
                  <a:gd name="T46" fmla="*/ 78 w 148"/>
                  <a:gd name="T47" fmla="*/ 109 h 192"/>
                  <a:gd name="T48" fmla="*/ 76 w 148"/>
                  <a:gd name="T49" fmla="*/ 112 h 192"/>
                  <a:gd name="T50" fmla="*/ 73 w 148"/>
                  <a:gd name="T51" fmla="*/ 116 h 192"/>
                  <a:gd name="T52" fmla="*/ 44 w 148"/>
                  <a:gd name="T53" fmla="*/ 124 h 192"/>
                  <a:gd name="T54" fmla="*/ 19 w 148"/>
                  <a:gd name="T55" fmla="*/ 137 h 192"/>
                  <a:gd name="T56" fmla="*/ 5 w 148"/>
                  <a:gd name="T57" fmla="*/ 153 h 192"/>
                  <a:gd name="T58" fmla="*/ 0 w 148"/>
                  <a:gd name="T59" fmla="*/ 173 h 192"/>
                  <a:gd name="T60" fmla="*/ 0 w 148"/>
                  <a:gd name="T61" fmla="*/ 187 h 192"/>
                  <a:gd name="T62" fmla="*/ 5 w 148"/>
                  <a:gd name="T63" fmla="*/ 192 h 192"/>
                  <a:gd name="T64" fmla="*/ 70 w 148"/>
                  <a:gd name="T65" fmla="*/ 192 h 192"/>
                  <a:gd name="T66" fmla="*/ 75 w 148"/>
                  <a:gd name="T67" fmla="*/ 187 h 192"/>
                  <a:gd name="T68" fmla="*/ 78 w 148"/>
                  <a:gd name="T69" fmla="*/ 178 h 192"/>
                  <a:gd name="T70" fmla="*/ 88 w 148"/>
                  <a:gd name="T71" fmla="*/ 160 h 192"/>
                  <a:gd name="T72" fmla="*/ 102 w 148"/>
                  <a:gd name="T73" fmla="*/ 143 h 192"/>
                  <a:gd name="T74" fmla="*/ 124 w 148"/>
                  <a:gd name="T75" fmla="*/ 130 h 192"/>
                  <a:gd name="T76" fmla="*/ 135 w 148"/>
                  <a:gd name="T77" fmla="*/ 12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8" h="192">
                    <a:moveTo>
                      <a:pt x="135" y="124"/>
                    </a:moveTo>
                    <a:lnTo>
                      <a:pt x="135" y="124"/>
                    </a:lnTo>
                    <a:lnTo>
                      <a:pt x="138" y="122"/>
                    </a:lnTo>
                    <a:lnTo>
                      <a:pt x="138" y="119"/>
                    </a:lnTo>
                    <a:lnTo>
                      <a:pt x="137" y="117"/>
                    </a:lnTo>
                    <a:lnTo>
                      <a:pt x="135" y="116"/>
                    </a:lnTo>
                    <a:lnTo>
                      <a:pt x="135" y="116"/>
                    </a:lnTo>
                    <a:lnTo>
                      <a:pt x="133" y="116"/>
                    </a:lnTo>
                    <a:lnTo>
                      <a:pt x="133" y="116"/>
                    </a:lnTo>
                    <a:lnTo>
                      <a:pt x="130" y="112"/>
                    </a:lnTo>
                    <a:lnTo>
                      <a:pt x="128" y="109"/>
                    </a:lnTo>
                    <a:lnTo>
                      <a:pt x="128" y="109"/>
                    </a:lnTo>
                    <a:lnTo>
                      <a:pt x="130" y="106"/>
                    </a:lnTo>
                    <a:lnTo>
                      <a:pt x="132" y="104"/>
                    </a:lnTo>
                    <a:lnTo>
                      <a:pt x="132" y="104"/>
                    </a:lnTo>
                    <a:lnTo>
                      <a:pt x="137" y="99"/>
                    </a:lnTo>
                    <a:lnTo>
                      <a:pt x="140" y="94"/>
                    </a:lnTo>
                    <a:lnTo>
                      <a:pt x="145" y="83"/>
                    </a:lnTo>
                    <a:lnTo>
                      <a:pt x="148" y="70"/>
                    </a:lnTo>
                    <a:lnTo>
                      <a:pt x="148" y="54"/>
                    </a:lnTo>
                    <a:lnTo>
                      <a:pt x="148" y="54"/>
                    </a:lnTo>
                    <a:lnTo>
                      <a:pt x="148" y="42"/>
                    </a:lnTo>
                    <a:lnTo>
                      <a:pt x="145" y="33"/>
                    </a:lnTo>
                    <a:lnTo>
                      <a:pt x="141" y="23"/>
                    </a:lnTo>
                    <a:lnTo>
                      <a:pt x="135" y="16"/>
                    </a:lnTo>
                    <a:lnTo>
                      <a:pt x="128" y="10"/>
                    </a:lnTo>
                    <a:lnTo>
                      <a:pt x="120" y="5"/>
                    </a:lnTo>
                    <a:lnTo>
                      <a:pt x="112" y="2"/>
                    </a:lnTo>
                    <a:lnTo>
                      <a:pt x="102" y="0"/>
                    </a:lnTo>
                    <a:lnTo>
                      <a:pt x="102" y="0"/>
                    </a:lnTo>
                    <a:lnTo>
                      <a:pt x="94" y="2"/>
                    </a:lnTo>
                    <a:lnTo>
                      <a:pt x="86" y="5"/>
                    </a:lnTo>
                    <a:lnTo>
                      <a:pt x="78" y="10"/>
                    </a:lnTo>
                    <a:lnTo>
                      <a:pt x="71" y="16"/>
                    </a:lnTo>
                    <a:lnTo>
                      <a:pt x="65" y="23"/>
                    </a:lnTo>
                    <a:lnTo>
                      <a:pt x="62" y="33"/>
                    </a:lnTo>
                    <a:lnTo>
                      <a:pt x="58" y="42"/>
                    </a:lnTo>
                    <a:lnTo>
                      <a:pt x="58" y="54"/>
                    </a:lnTo>
                    <a:lnTo>
                      <a:pt x="58" y="54"/>
                    </a:lnTo>
                    <a:lnTo>
                      <a:pt x="58" y="70"/>
                    </a:lnTo>
                    <a:lnTo>
                      <a:pt x="62" y="83"/>
                    </a:lnTo>
                    <a:lnTo>
                      <a:pt x="66" y="94"/>
                    </a:lnTo>
                    <a:lnTo>
                      <a:pt x="70" y="99"/>
                    </a:lnTo>
                    <a:lnTo>
                      <a:pt x="75" y="104"/>
                    </a:lnTo>
                    <a:lnTo>
                      <a:pt x="75" y="104"/>
                    </a:lnTo>
                    <a:lnTo>
                      <a:pt x="76" y="106"/>
                    </a:lnTo>
                    <a:lnTo>
                      <a:pt x="78" y="109"/>
                    </a:lnTo>
                    <a:lnTo>
                      <a:pt x="78" y="109"/>
                    </a:lnTo>
                    <a:lnTo>
                      <a:pt x="78" y="109"/>
                    </a:lnTo>
                    <a:lnTo>
                      <a:pt x="76" y="112"/>
                    </a:lnTo>
                    <a:lnTo>
                      <a:pt x="73" y="116"/>
                    </a:lnTo>
                    <a:lnTo>
                      <a:pt x="73" y="116"/>
                    </a:lnTo>
                    <a:lnTo>
                      <a:pt x="57" y="119"/>
                    </a:lnTo>
                    <a:lnTo>
                      <a:pt x="44" y="124"/>
                    </a:lnTo>
                    <a:lnTo>
                      <a:pt x="31" y="129"/>
                    </a:lnTo>
                    <a:lnTo>
                      <a:pt x="19" y="137"/>
                    </a:lnTo>
                    <a:lnTo>
                      <a:pt x="11" y="145"/>
                    </a:lnTo>
                    <a:lnTo>
                      <a:pt x="5" y="153"/>
                    </a:lnTo>
                    <a:lnTo>
                      <a:pt x="1" y="163"/>
                    </a:lnTo>
                    <a:lnTo>
                      <a:pt x="0" y="173"/>
                    </a:lnTo>
                    <a:lnTo>
                      <a:pt x="0" y="187"/>
                    </a:lnTo>
                    <a:lnTo>
                      <a:pt x="0" y="187"/>
                    </a:lnTo>
                    <a:lnTo>
                      <a:pt x="1" y="191"/>
                    </a:lnTo>
                    <a:lnTo>
                      <a:pt x="5" y="192"/>
                    </a:lnTo>
                    <a:lnTo>
                      <a:pt x="70" y="192"/>
                    </a:lnTo>
                    <a:lnTo>
                      <a:pt x="70" y="192"/>
                    </a:lnTo>
                    <a:lnTo>
                      <a:pt x="73" y="191"/>
                    </a:lnTo>
                    <a:lnTo>
                      <a:pt x="75" y="187"/>
                    </a:lnTo>
                    <a:lnTo>
                      <a:pt x="75" y="187"/>
                    </a:lnTo>
                    <a:lnTo>
                      <a:pt x="78" y="178"/>
                    </a:lnTo>
                    <a:lnTo>
                      <a:pt x="81" y="169"/>
                    </a:lnTo>
                    <a:lnTo>
                      <a:pt x="88" y="160"/>
                    </a:lnTo>
                    <a:lnTo>
                      <a:pt x="94" y="152"/>
                    </a:lnTo>
                    <a:lnTo>
                      <a:pt x="102" y="143"/>
                    </a:lnTo>
                    <a:lnTo>
                      <a:pt x="112" y="137"/>
                    </a:lnTo>
                    <a:lnTo>
                      <a:pt x="124" y="130"/>
                    </a:lnTo>
                    <a:lnTo>
                      <a:pt x="135" y="124"/>
                    </a:lnTo>
                    <a:lnTo>
                      <a:pt x="135" y="1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a:endParaRPr>
              </a:p>
            </p:txBody>
          </p:sp>
          <p:sp>
            <p:nvSpPr>
              <p:cNvPr id="46" name="Freeform 352">
                <a:extLst>
                  <a:ext uri="{FF2B5EF4-FFF2-40B4-BE49-F238E27FC236}">
                    <a16:creationId xmlns:a16="http://schemas.microsoft.com/office/drawing/2014/main" id="{68CAAB96-BF6C-4A7B-8BAB-3A18D215F69B}"/>
                  </a:ext>
                </a:extLst>
              </p:cNvPr>
              <p:cNvSpPr>
                <a:spLocks/>
              </p:cNvSpPr>
              <p:nvPr/>
            </p:nvSpPr>
            <p:spPr bwMode="auto">
              <a:xfrm>
                <a:off x="10222047" y="1408760"/>
                <a:ext cx="219273" cy="280670"/>
              </a:xfrm>
              <a:custGeom>
                <a:avLst/>
                <a:gdLst>
                  <a:gd name="T0" fmla="*/ 77 w 150"/>
                  <a:gd name="T1" fmla="*/ 116 h 192"/>
                  <a:gd name="T2" fmla="*/ 72 w 150"/>
                  <a:gd name="T3" fmla="*/ 109 h 192"/>
                  <a:gd name="T4" fmla="*/ 72 w 150"/>
                  <a:gd name="T5" fmla="*/ 106 h 192"/>
                  <a:gd name="T6" fmla="*/ 73 w 150"/>
                  <a:gd name="T7" fmla="*/ 104 h 192"/>
                  <a:gd name="T8" fmla="*/ 82 w 150"/>
                  <a:gd name="T9" fmla="*/ 94 h 192"/>
                  <a:gd name="T10" fmla="*/ 90 w 150"/>
                  <a:gd name="T11" fmla="*/ 70 h 192"/>
                  <a:gd name="T12" fmla="*/ 91 w 150"/>
                  <a:gd name="T13" fmla="*/ 54 h 192"/>
                  <a:gd name="T14" fmla="*/ 86 w 150"/>
                  <a:gd name="T15" fmla="*/ 33 h 192"/>
                  <a:gd name="T16" fmla="*/ 77 w 150"/>
                  <a:gd name="T17" fmla="*/ 16 h 192"/>
                  <a:gd name="T18" fmla="*/ 64 w 150"/>
                  <a:gd name="T19" fmla="*/ 5 h 192"/>
                  <a:gd name="T20" fmla="*/ 46 w 150"/>
                  <a:gd name="T21" fmla="*/ 0 h 192"/>
                  <a:gd name="T22" fmla="*/ 36 w 150"/>
                  <a:gd name="T23" fmla="*/ 2 h 192"/>
                  <a:gd name="T24" fmla="*/ 20 w 150"/>
                  <a:gd name="T25" fmla="*/ 10 h 192"/>
                  <a:gd name="T26" fmla="*/ 8 w 150"/>
                  <a:gd name="T27" fmla="*/ 23 h 192"/>
                  <a:gd name="T28" fmla="*/ 2 w 150"/>
                  <a:gd name="T29" fmla="*/ 42 h 192"/>
                  <a:gd name="T30" fmla="*/ 0 w 150"/>
                  <a:gd name="T31" fmla="*/ 54 h 192"/>
                  <a:gd name="T32" fmla="*/ 3 w 150"/>
                  <a:gd name="T33" fmla="*/ 83 h 192"/>
                  <a:gd name="T34" fmla="*/ 13 w 150"/>
                  <a:gd name="T35" fmla="*/ 99 h 192"/>
                  <a:gd name="T36" fmla="*/ 18 w 150"/>
                  <a:gd name="T37" fmla="*/ 104 h 192"/>
                  <a:gd name="T38" fmla="*/ 20 w 150"/>
                  <a:gd name="T39" fmla="*/ 109 h 192"/>
                  <a:gd name="T40" fmla="*/ 20 w 150"/>
                  <a:gd name="T41" fmla="*/ 109 h 192"/>
                  <a:gd name="T42" fmla="*/ 15 w 150"/>
                  <a:gd name="T43" fmla="*/ 116 h 192"/>
                  <a:gd name="T44" fmla="*/ 15 w 150"/>
                  <a:gd name="T45" fmla="*/ 116 h 192"/>
                  <a:gd name="T46" fmla="*/ 11 w 150"/>
                  <a:gd name="T47" fmla="*/ 117 h 192"/>
                  <a:gd name="T48" fmla="*/ 11 w 150"/>
                  <a:gd name="T49" fmla="*/ 122 h 192"/>
                  <a:gd name="T50" fmla="*/ 13 w 150"/>
                  <a:gd name="T51" fmla="*/ 124 h 192"/>
                  <a:gd name="T52" fmla="*/ 36 w 150"/>
                  <a:gd name="T53" fmla="*/ 137 h 192"/>
                  <a:gd name="T54" fmla="*/ 54 w 150"/>
                  <a:gd name="T55" fmla="*/ 152 h 192"/>
                  <a:gd name="T56" fmla="*/ 67 w 150"/>
                  <a:gd name="T57" fmla="*/ 169 h 192"/>
                  <a:gd name="T58" fmla="*/ 73 w 150"/>
                  <a:gd name="T59" fmla="*/ 187 h 192"/>
                  <a:gd name="T60" fmla="*/ 75 w 150"/>
                  <a:gd name="T61" fmla="*/ 191 h 192"/>
                  <a:gd name="T62" fmla="*/ 145 w 150"/>
                  <a:gd name="T63" fmla="*/ 192 h 192"/>
                  <a:gd name="T64" fmla="*/ 148 w 150"/>
                  <a:gd name="T65" fmla="*/ 191 h 192"/>
                  <a:gd name="T66" fmla="*/ 150 w 150"/>
                  <a:gd name="T67" fmla="*/ 173 h 192"/>
                  <a:gd name="T68" fmla="*/ 148 w 150"/>
                  <a:gd name="T69" fmla="*/ 163 h 192"/>
                  <a:gd name="T70" fmla="*/ 137 w 150"/>
                  <a:gd name="T71" fmla="*/ 145 h 192"/>
                  <a:gd name="T72" fmla="*/ 117 w 150"/>
                  <a:gd name="T73" fmla="*/ 129 h 192"/>
                  <a:gd name="T74" fmla="*/ 91 w 150"/>
                  <a:gd name="T75" fmla="*/ 119 h 192"/>
                  <a:gd name="T76" fmla="*/ 77 w 150"/>
                  <a:gd name="T77" fmla="*/ 116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0" h="192">
                    <a:moveTo>
                      <a:pt x="77" y="116"/>
                    </a:moveTo>
                    <a:lnTo>
                      <a:pt x="77" y="116"/>
                    </a:lnTo>
                    <a:lnTo>
                      <a:pt x="72" y="112"/>
                    </a:lnTo>
                    <a:lnTo>
                      <a:pt x="72" y="109"/>
                    </a:lnTo>
                    <a:lnTo>
                      <a:pt x="72" y="109"/>
                    </a:lnTo>
                    <a:lnTo>
                      <a:pt x="72" y="106"/>
                    </a:lnTo>
                    <a:lnTo>
                      <a:pt x="73" y="104"/>
                    </a:lnTo>
                    <a:lnTo>
                      <a:pt x="73" y="104"/>
                    </a:lnTo>
                    <a:lnTo>
                      <a:pt x="78" y="99"/>
                    </a:lnTo>
                    <a:lnTo>
                      <a:pt x="82" y="94"/>
                    </a:lnTo>
                    <a:lnTo>
                      <a:pt x="86" y="83"/>
                    </a:lnTo>
                    <a:lnTo>
                      <a:pt x="90" y="70"/>
                    </a:lnTo>
                    <a:lnTo>
                      <a:pt x="91" y="54"/>
                    </a:lnTo>
                    <a:lnTo>
                      <a:pt x="91" y="54"/>
                    </a:lnTo>
                    <a:lnTo>
                      <a:pt x="90" y="42"/>
                    </a:lnTo>
                    <a:lnTo>
                      <a:pt x="86" y="33"/>
                    </a:lnTo>
                    <a:lnTo>
                      <a:pt x="83" y="23"/>
                    </a:lnTo>
                    <a:lnTo>
                      <a:pt x="77" y="16"/>
                    </a:lnTo>
                    <a:lnTo>
                      <a:pt x="70" y="10"/>
                    </a:lnTo>
                    <a:lnTo>
                      <a:pt x="64" y="5"/>
                    </a:lnTo>
                    <a:lnTo>
                      <a:pt x="54" y="2"/>
                    </a:lnTo>
                    <a:lnTo>
                      <a:pt x="46" y="0"/>
                    </a:lnTo>
                    <a:lnTo>
                      <a:pt x="46" y="0"/>
                    </a:lnTo>
                    <a:lnTo>
                      <a:pt x="36" y="2"/>
                    </a:lnTo>
                    <a:lnTo>
                      <a:pt x="28" y="5"/>
                    </a:lnTo>
                    <a:lnTo>
                      <a:pt x="20" y="10"/>
                    </a:lnTo>
                    <a:lnTo>
                      <a:pt x="13" y="16"/>
                    </a:lnTo>
                    <a:lnTo>
                      <a:pt x="8" y="23"/>
                    </a:lnTo>
                    <a:lnTo>
                      <a:pt x="3" y="33"/>
                    </a:lnTo>
                    <a:lnTo>
                      <a:pt x="2" y="42"/>
                    </a:lnTo>
                    <a:lnTo>
                      <a:pt x="0" y="54"/>
                    </a:lnTo>
                    <a:lnTo>
                      <a:pt x="0" y="54"/>
                    </a:lnTo>
                    <a:lnTo>
                      <a:pt x="2" y="70"/>
                    </a:lnTo>
                    <a:lnTo>
                      <a:pt x="3" y="83"/>
                    </a:lnTo>
                    <a:lnTo>
                      <a:pt x="8" y="94"/>
                    </a:lnTo>
                    <a:lnTo>
                      <a:pt x="13" y="99"/>
                    </a:lnTo>
                    <a:lnTo>
                      <a:pt x="18" y="104"/>
                    </a:lnTo>
                    <a:lnTo>
                      <a:pt x="18" y="104"/>
                    </a:lnTo>
                    <a:lnTo>
                      <a:pt x="20" y="106"/>
                    </a:lnTo>
                    <a:lnTo>
                      <a:pt x="20" y="109"/>
                    </a:lnTo>
                    <a:lnTo>
                      <a:pt x="20" y="109"/>
                    </a:lnTo>
                    <a:lnTo>
                      <a:pt x="20" y="109"/>
                    </a:lnTo>
                    <a:lnTo>
                      <a:pt x="18" y="112"/>
                    </a:lnTo>
                    <a:lnTo>
                      <a:pt x="15" y="116"/>
                    </a:lnTo>
                    <a:lnTo>
                      <a:pt x="15" y="116"/>
                    </a:lnTo>
                    <a:lnTo>
                      <a:pt x="15" y="116"/>
                    </a:lnTo>
                    <a:lnTo>
                      <a:pt x="15" y="116"/>
                    </a:lnTo>
                    <a:lnTo>
                      <a:pt x="11" y="117"/>
                    </a:lnTo>
                    <a:lnTo>
                      <a:pt x="10" y="119"/>
                    </a:lnTo>
                    <a:lnTo>
                      <a:pt x="11" y="122"/>
                    </a:lnTo>
                    <a:lnTo>
                      <a:pt x="13" y="124"/>
                    </a:lnTo>
                    <a:lnTo>
                      <a:pt x="13" y="124"/>
                    </a:lnTo>
                    <a:lnTo>
                      <a:pt x="25" y="130"/>
                    </a:lnTo>
                    <a:lnTo>
                      <a:pt x="36" y="137"/>
                    </a:lnTo>
                    <a:lnTo>
                      <a:pt x="46" y="143"/>
                    </a:lnTo>
                    <a:lnTo>
                      <a:pt x="54" y="152"/>
                    </a:lnTo>
                    <a:lnTo>
                      <a:pt x="60" y="160"/>
                    </a:lnTo>
                    <a:lnTo>
                      <a:pt x="67" y="169"/>
                    </a:lnTo>
                    <a:lnTo>
                      <a:pt x="72" y="178"/>
                    </a:lnTo>
                    <a:lnTo>
                      <a:pt x="73" y="187"/>
                    </a:lnTo>
                    <a:lnTo>
                      <a:pt x="73" y="187"/>
                    </a:lnTo>
                    <a:lnTo>
                      <a:pt x="75" y="191"/>
                    </a:lnTo>
                    <a:lnTo>
                      <a:pt x="78" y="192"/>
                    </a:lnTo>
                    <a:lnTo>
                      <a:pt x="145" y="192"/>
                    </a:lnTo>
                    <a:lnTo>
                      <a:pt x="145" y="192"/>
                    </a:lnTo>
                    <a:lnTo>
                      <a:pt x="148" y="191"/>
                    </a:lnTo>
                    <a:lnTo>
                      <a:pt x="150" y="187"/>
                    </a:lnTo>
                    <a:lnTo>
                      <a:pt x="150" y="173"/>
                    </a:lnTo>
                    <a:lnTo>
                      <a:pt x="150" y="173"/>
                    </a:lnTo>
                    <a:lnTo>
                      <a:pt x="148" y="163"/>
                    </a:lnTo>
                    <a:lnTo>
                      <a:pt x="143" y="153"/>
                    </a:lnTo>
                    <a:lnTo>
                      <a:pt x="137" y="145"/>
                    </a:lnTo>
                    <a:lnTo>
                      <a:pt x="129" y="137"/>
                    </a:lnTo>
                    <a:lnTo>
                      <a:pt x="117" y="129"/>
                    </a:lnTo>
                    <a:lnTo>
                      <a:pt x="106" y="124"/>
                    </a:lnTo>
                    <a:lnTo>
                      <a:pt x="91" y="119"/>
                    </a:lnTo>
                    <a:lnTo>
                      <a:pt x="77" y="116"/>
                    </a:lnTo>
                    <a:lnTo>
                      <a:pt x="77" y="1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a:endParaRPr>
              </a:p>
            </p:txBody>
          </p:sp>
        </p:grpSp>
      </p:grpSp>
      <p:grpSp>
        <p:nvGrpSpPr>
          <p:cNvPr id="47" name="Group 46">
            <a:extLst>
              <a:ext uri="{FF2B5EF4-FFF2-40B4-BE49-F238E27FC236}">
                <a16:creationId xmlns:a16="http://schemas.microsoft.com/office/drawing/2014/main" id="{962609FB-A91C-462A-884C-C434AC7AC366}"/>
              </a:ext>
            </a:extLst>
          </p:cNvPr>
          <p:cNvGrpSpPr>
            <a:grpSpLocks noChangeAspect="1"/>
          </p:cNvGrpSpPr>
          <p:nvPr/>
        </p:nvGrpSpPr>
        <p:grpSpPr>
          <a:xfrm>
            <a:off x="1481148" y="3668810"/>
            <a:ext cx="1682245" cy="1638715"/>
            <a:chOff x="5162194" y="235858"/>
            <a:chExt cx="2743200" cy="2743200"/>
          </a:xfrm>
        </p:grpSpPr>
        <p:sp>
          <p:nvSpPr>
            <p:cNvPr id="48" name="Oval 47">
              <a:extLst>
                <a:ext uri="{FF2B5EF4-FFF2-40B4-BE49-F238E27FC236}">
                  <a16:creationId xmlns:a16="http://schemas.microsoft.com/office/drawing/2014/main" id="{0007F1C0-DA74-454D-8551-69F0D21C2FB8}"/>
                </a:ext>
              </a:extLst>
            </p:cNvPr>
            <p:cNvSpPr/>
            <p:nvPr/>
          </p:nvSpPr>
          <p:spPr>
            <a:xfrm>
              <a:off x="5162194" y="235858"/>
              <a:ext cx="2743200" cy="2743200"/>
            </a:xfrm>
            <a:prstGeom prst="ellipse">
              <a:avLst/>
            </a:prstGeom>
            <a:solidFill>
              <a:sysClr val="window" lastClr="FFFFFF">
                <a:lumMod val="95000"/>
              </a:sysClr>
            </a:solidFill>
            <a:ln w="25400" cap="flat" cmpd="sng" algn="ctr">
              <a:noFill/>
              <a:prstDash val="solid"/>
            </a:ln>
            <a:effectLst>
              <a:outerShdw blurRad="203200" dist="127000" dir="2700000" algn="tl" rotWithShape="0">
                <a:prstClr val="black">
                  <a:alpha val="40000"/>
                </a:prstClr>
              </a:outerShdw>
            </a:effectLst>
            <a:scene3d>
              <a:camera prst="orthographicFront"/>
              <a:lightRig rig="threePt" dir="t">
                <a:rot lat="0" lon="0" rev="4800000"/>
              </a:lightRig>
            </a:scene3d>
            <a:sp3d extrusionH="266700">
              <a:bevelT w="431800" h="19050" prst="relaxedInset"/>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49" name="Oval 48">
              <a:extLst>
                <a:ext uri="{FF2B5EF4-FFF2-40B4-BE49-F238E27FC236}">
                  <a16:creationId xmlns:a16="http://schemas.microsoft.com/office/drawing/2014/main" id="{EF438B92-C075-44C2-B348-84EDC4DC0587}"/>
                </a:ext>
              </a:extLst>
            </p:cNvPr>
            <p:cNvSpPr/>
            <p:nvPr/>
          </p:nvSpPr>
          <p:spPr>
            <a:xfrm>
              <a:off x="5448851" y="522515"/>
              <a:ext cx="2169886" cy="2169886"/>
            </a:xfrm>
            <a:prstGeom prst="ellipse">
              <a:avLst/>
            </a:prstGeom>
            <a:solidFill>
              <a:srgbClr val="6DBBE0"/>
            </a:solidFill>
            <a:ln w="25400" cap="flat" cmpd="sng" algn="ctr">
              <a:noFill/>
              <a:prstDash val="solid"/>
            </a:ln>
            <a:effectLst>
              <a:outerShdw blurRad="177800" dist="127000" dir="2700000" algn="tl" rotWithShape="0">
                <a:prstClr val="black">
                  <a:alpha val="40000"/>
                </a:prstClr>
              </a:outerShdw>
            </a:effectLst>
            <a:scene3d>
              <a:camera prst="orthographicFront"/>
              <a:lightRig rig="threePt" dir="t">
                <a:rot lat="0" lon="0" rev="4800000"/>
              </a:lightRig>
            </a:scene3d>
            <a:sp3d>
              <a:bevelT w="158750" h="1905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50" name="TextBox 49">
              <a:extLst>
                <a:ext uri="{FF2B5EF4-FFF2-40B4-BE49-F238E27FC236}">
                  <a16:creationId xmlns:a16="http://schemas.microsoft.com/office/drawing/2014/main" id="{3A5F5EF0-46C8-4D34-99E8-BDFEEC7D7341}"/>
                </a:ext>
              </a:extLst>
            </p:cNvPr>
            <p:cNvSpPr txBox="1"/>
            <p:nvPr/>
          </p:nvSpPr>
          <p:spPr>
            <a:xfrm>
              <a:off x="5515829" y="1396338"/>
              <a:ext cx="2034604" cy="875867"/>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96 Sans Light" panose="020C0304020203020204"/>
                </a:rPr>
                <a:t>Data Privacy Office (DPO)</a:t>
              </a:r>
            </a:p>
          </p:txBody>
        </p:sp>
        <p:grpSp>
          <p:nvGrpSpPr>
            <p:cNvPr id="51" name="Group">
              <a:extLst>
                <a:ext uri="{FF2B5EF4-FFF2-40B4-BE49-F238E27FC236}">
                  <a16:creationId xmlns:a16="http://schemas.microsoft.com/office/drawing/2014/main" id="{08DFFE97-4FC1-4833-A282-E93A9066A9CC}"/>
                </a:ext>
              </a:extLst>
            </p:cNvPr>
            <p:cNvGrpSpPr/>
            <p:nvPr/>
          </p:nvGrpSpPr>
          <p:grpSpPr>
            <a:xfrm>
              <a:off x="6124295" y="771737"/>
              <a:ext cx="836281" cy="543691"/>
              <a:chOff x="9774729" y="1359058"/>
              <a:chExt cx="666591" cy="381536"/>
            </a:xfrm>
            <a:solidFill>
              <a:sysClr val="window" lastClr="FFFFFF">
                <a:lumMod val="95000"/>
              </a:sysClr>
            </a:solidFill>
          </p:grpSpPr>
          <p:sp>
            <p:nvSpPr>
              <p:cNvPr id="52" name="Freeform 350">
                <a:extLst>
                  <a:ext uri="{FF2B5EF4-FFF2-40B4-BE49-F238E27FC236}">
                    <a16:creationId xmlns:a16="http://schemas.microsoft.com/office/drawing/2014/main" id="{16D1A7EB-2AC8-4582-837A-9B664B19D934}"/>
                  </a:ext>
                </a:extLst>
              </p:cNvPr>
              <p:cNvSpPr>
                <a:spLocks/>
              </p:cNvSpPr>
              <p:nvPr/>
            </p:nvSpPr>
            <p:spPr bwMode="auto">
              <a:xfrm>
                <a:off x="9900446" y="1359058"/>
                <a:ext cx="415158" cy="381536"/>
              </a:xfrm>
              <a:custGeom>
                <a:avLst/>
                <a:gdLst>
                  <a:gd name="T0" fmla="*/ 0 w 284"/>
                  <a:gd name="T1" fmla="*/ 252 h 261"/>
                  <a:gd name="T2" fmla="*/ 2 w 284"/>
                  <a:gd name="T3" fmla="*/ 257 h 261"/>
                  <a:gd name="T4" fmla="*/ 8 w 284"/>
                  <a:gd name="T5" fmla="*/ 261 h 261"/>
                  <a:gd name="T6" fmla="*/ 275 w 284"/>
                  <a:gd name="T7" fmla="*/ 261 h 261"/>
                  <a:gd name="T8" fmla="*/ 280 w 284"/>
                  <a:gd name="T9" fmla="*/ 257 h 261"/>
                  <a:gd name="T10" fmla="*/ 284 w 284"/>
                  <a:gd name="T11" fmla="*/ 252 h 261"/>
                  <a:gd name="T12" fmla="*/ 284 w 284"/>
                  <a:gd name="T13" fmla="*/ 234 h 261"/>
                  <a:gd name="T14" fmla="*/ 275 w 284"/>
                  <a:gd name="T15" fmla="*/ 208 h 261"/>
                  <a:gd name="T16" fmla="*/ 254 w 284"/>
                  <a:gd name="T17" fmla="*/ 186 h 261"/>
                  <a:gd name="T18" fmla="*/ 223 w 284"/>
                  <a:gd name="T19" fmla="*/ 168 h 261"/>
                  <a:gd name="T20" fmla="*/ 184 w 284"/>
                  <a:gd name="T21" fmla="*/ 156 h 261"/>
                  <a:gd name="T22" fmla="*/ 181 w 284"/>
                  <a:gd name="T23" fmla="*/ 155 h 261"/>
                  <a:gd name="T24" fmla="*/ 176 w 284"/>
                  <a:gd name="T25" fmla="*/ 150 h 261"/>
                  <a:gd name="T26" fmla="*/ 176 w 284"/>
                  <a:gd name="T27" fmla="*/ 148 h 261"/>
                  <a:gd name="T28" fmla="*/ 179 w 284"/>
                  <a:gd name="T29" fmla="*/ 142 h 261"/>
                  <a:gd name="T30" fmla="*/ 186 w 284"/>
                  <a:gd name="T31" fmla="*/ 135 h 261"/>
                  <a:gd name="T32" fmla="*/ 196 w 284"/>
                  <a:gd name="T33" fmla="*/ 120 h 261"/>
                  <a:gd name="T34" fmla="*/ 202 w 284"/>
                  <a:gd name="T35" fmla="*/ 94 h 261"/>
                  <a:gd name="T36" fmla="*/ 204 w 284"/>
                  <a:gd name="T37" fmla="*/ 73 h 261"/>
                  <a:gd name="T38" fmla="*/ 199 w 284"/>
                  <a:gd name="T39" fmla="*/ 44 h 261"/>
                  <a:gd name="T40" fmla="*/ 184 w 284"/>
                  <a:gd name="T41" fmla="*/ 21 h 261"/>
                  <a:gd name="T42" fmla="*/ 165 w 284"/>
                  <a:gd name="T43" fmla="*/ 5 h 261"/>
                  <a:gd name="T44" fmla="*/ 142 w 284"/>
                  <a:gd name="T45" fmla="*/ 0 h 261"/>
                  <a:gd name="T46" fmla="*/ 129 w 284"/>
                  <a:gd name="T47" fmla="*/ 1 h 261"/>
                  <a:gd name="T48" fmla="*/ 106 w 284"/>
                  <a:gd name="T49" fmla="*/ 11 h 261"/>
                  <a:gd name="T50" fmla="*/ 90 w 284"/>
                  <a:gd name="T51" fmla="*/ 31 h 261"/>
                  <a:gd name="T52" fmla="*/ 82 w 284"/>
                  <a:gd name="T53" fmla="*/ 58 h 261"/>
                  <a:gd name="T54" fmla="*/ 80 w 284"/>
                  <a:gd name="T55" fmla="*/ 73 h 261"/>
                  <a:gd name="T56" fmla="*/ 85 w 284"/>
                  <a:gd name="T57" fmla="*/ 112 h 261"/>
                  <a:gd name="T58" fmla="*/ 91 w 284"/>
                  <a:gd name="T59" fmla="*/ 128 h 261"/>
                  <a:gd name="T60" fmla="*/ 103 w 284"/>
                  <a:gd name="T61" fmla="*/ 142 h 261"/>
                  <a:gd name="T62" fmla="*/ 106 w 284"/>
                  <a:gd name="T63" fmla="*/ 143 h 261"/>
                  <a:gd name="T64" fmla="*/ 106 w 284"/>
                  <a:gd name="T65" fmla="*/ 148 h 261"/>
                  <a:gd name="T66" fmla="*/ 106 w 284"/>
                  <a:gd name="T67" fmla="*/ 150 h 261"/>
                  <a:gd name="T68" fmla="*/ 103 w 284"/>
                  <a:gd name="T69" fmla="*/ 155 h 261"/>
                  <a:gd name="T70" fmla="*/ 99 w 284"/>
                  <a:gd name="T71" fmla="*/ 156 h 261"/>
                  <a:gd name="T72" fmla="*/ 59 w 284"/>
                  <a:gd name="T73" fmla="*/ 168 h 261"/>
                  <a:gd name="T74" fmla="*/ 28 w 284"/>
                  <a:gd name="T75" fmla="*/ 186 h 261"/>
                  <a:gd name="T76" fmla="*/ 7 w 284"/>
                  <a:gd name="T77" fmla="*/ 208 h 261"/>
                  <a:gd name="T78" fmla="*/ 0 w 284"/>
                  <a:gd name="T79" fmla="*/ 234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4" h="261">
                    <a:moveTo>
                      <a:pt x="0" y="252"/>
                    </a:moveTo>
                    <a:lnTo>
                      <a:pt x="0" y="252"/>
                    </a:lnTo>
                    <a:lnTo>
                      <a:pt x="0" y="256"/>
                    </a:lnTo>
                    <a:lnTo>
                      <a:pt x="2" y="257"/>
                    </a:lnTo>
                    <a:lnTo>
                      <a:pt x="5" y="261"/>
                    </a:lnTo>
                    <a:lnTo>
                      <a:pt x="8" y="261"/>
                    </a:lnTo>
                    <a:lnTo>
                      <a:pt x="275" y="261"/>
                    </a:lnTo>
                    <a:lnTo>
                      <a:pt x="275" y="261"/>
                    </a:lnTo>
                    <a:lnTo>
                      <a:pt x="279" y="261"/>
                    </a:lnTo>
                    <a:lnTo>
                      <a:pt x="280" y="257"/>
                    </a:lnTo>
                    <a:lnTo>
                      <a:pt x="282" y="256"/>
                    </a:lnTo>
                    <a:lnTo>
                      <a:pt x="284" y="252"/>
                    </a:lnTo>
                    <a:lnTo>
                      <a:pt x="284" y="234"/>
                    </a:lnTo>
                    <a:lnTo>
                      <a:pt x="284" y="234"/>
                    </a:lnTo>
                    <a:lnTo>
                      <a:pt x="282" y="221"/>
                    </a:lnTo>
                    <a:lnTo>
                      <a:pt x="275" y="208"/>
                    </a:lnTo>
                    <a:lnTo>
                      <a:pt x="267" y="195"/>
                    </a:lnTo>
                    <a:lnTo>
                      <a:pt x="254" y="186"/>
                    </a:lnTo>
                    <a:lnTo>
                      <a:pt x="240" y="176"/>
                    </a:lnTo>
                    <a:lnTo>
                      <a:pt x="223" y="168"/>
                    </a:lnTo>
                    <a:lnTo>
                      <a:pt x="204" y="161"/>
                    </a:lnTo>
                    <a:lnTo>
                      <a:pt x="184" y="156"/>
                    </a:lnTo>
                    <a:lnTo>
                      <a:pt x="184" y="156"/>
                    </a:lnTo>
                    <a:lnTo>
                      <a:pt x="181" y="155"/>
                    </a:lnTo>
                    <a:lnTo>
                      <a:pt x="178" y="153"/>
                    </a:lnTo>
                    <a:lnTo>
                      <a:pt x="176" y="150"/>
                    </a:lnTo>
                    <a:lnTo>
                      <a:pt x="176" y="148"/>
                    </a:lnTo>
                    <a:lnTo>
                      <a:pt x="176" y="148"/>
                    </a:lnTo>
                    <a:lnTo>
                      <a:pt x="178" y="143"/>
                    </a:lnTo>
                    <a:lnTo>
                      <a:pt x="179" y="142"/>
                    </a:lnTo>
                    <a:lnTo>
                      <a:pt x="179" y="142"/>
                    </a:lnTo>
                    <a:lnTo>
                      <a:pt x="186" y="135"/>
                    </a:lnTo>
                    <a:lnTo>
                      <a:pt x="191" y="128"/>
                    </a:lnTo>
                    <a:lnTo>
                      <a:pt x="196" y="120"/>
                    </a:lnTo>
                    <a:lnTo>
                      <a:pt x="199" y="112"/>
                    </a:lnTo>
                    <a:lnTo>
                      <a:pt x="202" y="94"/>
                    </a:lnTo>
                    <a:lnTo>
                      <a:pt x="204" y="73"/>
                    </a:lnTo>
                    <a:lnTo>
                      <a:pt x="204" y="73"/>
                    </a:lnTo>
                    <a:lnTo>
                      <a:pt x="202" y="58"/>
                    </a:lnTo>
                    <a:lnTo>
                      <a:pt x="199" y="44"/>
                    </a:lnTo>
                    <a:lnTo>
                      <a:pt x="192" y="31"/>
                    </a:lnTo>
                    <a:lnTo>
                      <a:pt x="184" y="21"/>
                    </a:lnTo>
                    <a:lnTo>
                      <a:pt x="176" y="11"/>
                    </a:lnTo>
                    <a:lnTo>
                      <a:pt x="165" y="5"/>
                    </a:lnTo>
                    <a:lnTo>
                      <a:pt x="153" y="1"/>
                    </a:lnTo>
                    <a:lnTo>
                      <a:pt x="142" y="0"/>
                    </a:lnTo>
                    <a:lnTo>
                      <a:pt x="142" y="0"/>
                    </a:lnTo>
                    <a:lnTo>
                      <a:pt x="129" y="1"/>
                    </a:lnTo>
                    <a:lnTo>
                      <a:pt x="117" y="5"/>
                    </a:lnTo>
                    <a:lnTo>
                      <a:pt x="106" y="11"/>
                    </a:lnTo>
                    <a:lnTo>
                      <a:pt x="98" y="21"/>
                    </a:lnTo>
                    <a:lnTo>
                      <a:pt x="90" y="31"/>
                    </a:lnTo>
                    <a:lnTo>
                      <a:pt x="85" y="44"/>
                    </a:lnTo>
                    <a:lnTo>
                      <a:pt x="82" y="58"/>
                    </a:lnTo>
                    <a:lnTo>
                      <a:pt x="80" y="73"/>
                    </a:lnTo>
                    <a:lnTo>
                      <a:pt x="80" y="73"/>
                    </a:lnTo>
                    <a:lnTo>
                      <a:pt x="80" y="94"/>
                    </a:lnTo>
                    <a:lnTo>
                      <a:pt x="85" y="112"/>
                    </a:lnTo>
                    <a:lnTo>
                      <a:pt x="88" y="120"/>
                    </a:lnTo>
                    <a:lnTo>
                      <a:pt x="91" y="128"/>
                    </a:lnTo>
                    <a:lnTo>
                      <a:pt x="96" y="135"/>
                    </a:lnTo>
                    <a:lnTo>
                      <a:pt x="103" y="142"/>
                    </a:lnTo>
                    <a:lnTo>
                      <a:pt x="103" y="142"/>
                    </a:lnTo>
                    <a:lnTo>
                      <a:pt x="106" y="143"/>
                    </a:lnTo>
                    <a:lnTo>
                      <a:pt x="106" y="148"/>
                    </a:lnTo>
                    <a:lnTo>
                      <a:pt x="106" y="148"/>
                    </a:lnTo>
                    <a:lnTo>
                      <a:pt x="106" y="148"/>
                    </a:lnTo>
                    <a:lnTo>
                      <a:pt x="106" y="150"/>
                    </a:lnTo>
                    <a:lnTo>
                      <a:pt x="104" y="153"/>
                    </a:lnTo>
                    <a:lnTo>
                      <a:pt x="103" y="155"/>
                    </a:lnTo>
                    <a:lnTo>
                      <a:pt x="99" y="156"/>
                    </a:lnTo>
                    <a:lnTo>
                      <a:pt x="99" y="156"/>
                    </a:lnTo>
                    <a:lnTo>
                      <a:pt x="78" y="161"/>
                    </a:lnTo>
                    <a:lnTo>
                      <a:pt x="59" y="168"/>
                    </a:lnTo>
                    <a:lnTo>
                      <a:pt x="42" y="176"/>
                    </a:lnTo>
                    <a:lnTo>
                      <a:pt x="28" y="186"/>
                    </a:lnTo>
                    <a:lnTo>
                      <a:pt x="16" y="195"/>
                    </a:lnTo>
                    <a:lnTo>
                      <a:pt x="7" y="208"/>
                    </a:lnTo>
                    <a:lnTo>
                      <a:pt x="2" y="221"/>
                    </a:lnTo>
                    <a:lnTo>
                      <a:pt x="0" y="234"/>
                    </a:lnTo>
                    <a:lnTo>
                      <a:pt x="0" y="2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a:endParaRPr>
              </a:p>
            </p:txBody>
          </p:sp>
          <p:sp>
            <p:nvSpPr>
              <p:cNvPr id="53" name="Freeform 351">
                <a:extLst>
                  <a:ext uri="{FF2B5EF4-FFF2-40B4-BE49-F238E27FC236}">
                    <a16:creationId xmlns:a16="http://schemas.microsoft.com/office/drawing/2014/main" id="{4FD6C879-A4DB-4F22-B5BA-595F94EFF772}"/>
                  </a:ext>
                </a:extLst>
              </p:cNvPr>
              <p:cNvSpPr>
                <a:spLocks/>
              </p:cNvSpPr>
              <p:nvPr/>
            </p:nvSpPr>
            <p:spPr bwMode="auto">
              <a:xfrm>
                <a:off x="9774729" y="1408760"/>
                <a:ext cx="216350" cy="280670"/>
              </a:xfrm>
              <a:custGeom>
                <a:avLst/>
                <a:gdLst>
                  <a:gd name="T0" fmla="*/ 135 w 148"/>
                  <a:gd name="T1" fmla="*/ 124 h 192"/>
                  <a:gd name="T2" fmla="*/ 138 w 148"/>
                  <a:gd name="T3" fmla="*/ 119 h 192"/>
                  <a:gd name="T4" fmla="*/ 135 w 148"/>
                  <a:gd name="T5" fmla="*/ 116 h 192"/>
                  <a:gd name="T6" fmla="*/ 133 w 148"/>
                  <a:gd name="T7" fmla="*/ 116 h 192"/>
                  <a:gd name="T8" fmla="*/ 130 w 148"/>
                  <a:gd name="T9" fmla="*/ 112 h 192"/>
                  <a:gd name="T10" fmla="*/ 128 w 148"/>
                  <a:gd name="T11" fmla="*/ 109 h 192"/>
                  <a:gd name="T12" fmla="*/ 132 w 148"/>
                  <a:gd name="T13" fmla="*/ 104 h 192"/>
                  <a:gd name="T14" fmla="*/ 137 w 148"/>
                  <a:gd name="T15" fmla="*/ 99 h 192"/>
                  <a:gd name="T16" fmla="*/ 145 w 148"/>
                  <a:gd name="T17" fmla="*/ 83 h 192"/>
                  <a:gd name="T18" fmla="*/ 148 w 148"/>
                  <a:gd name="T19" fmla="*/ 54 h 192"/>
                  <a:gd name="T20" fmla="*/ 148 w 148"/>
                  <a:gd name="T21" fmla="*/ 42 h 192"/>
                  <a:gd name="T22" fmla="*/ 141 w 148"/>
                  <a:gd name="T23" fmla="*/ 23 h 192"/>
                  <a:gd name="T24" fmla="*/ 128 w 148"/>
                  <a:gd name="T25" fmla="*/ 10 h 192"/>
                  <a:gd name="T26" fmla="*/ 112 w 148"/>
                  <a:gd name="T27" fmla="*/ 2 h 192"/>
                  <a:gd name="T28" fmla="*/ 102 w 148"/>
                  <a:gd name="T29" fmla="*/ 0 h 192"/>
                  <a:gd name="T30" fmla="*/ 86 w 148"/>
                  <a:gd name="T31" fmla="*/ 5 h 192"/>
                  <a:gd name="T32" fmla="*/ 71 w 148"/>
                  <a:gd name="T33" fmla="*/ 16 h 192"/>
                  <a:gd name="T34" fmla="*/ 62 w 148"/>
                  <a:gd name="T35" fmla="*/ 33 h 192"/>
                  <a:gd name="T36" fmla="*/ 58 w 148"/>
                  <a:gd name="T37" fmla="*/ 54 h 192"/>
                  <a:gd name="T38" fmla="*/ 58 w 148"/>
                  <a:gd name="T39" fmla="*/ 70 h 192"/>
                  <a:gd name="T40" fmla="*/ 66 w 148"/>
                  <a:gd name="T41" fmla="*/ 94 h 192"/>
                  <a:gd name="T42" fmla="*/ 75 w 148"/>
                  <a:gd name="T43" fmla="*/ 104 h 192"/>
                  <a:gd name="T44" fmla="*/ 76 w 148"/>
                  <a:gd name="T45" fmla="*/ 106 h 192"/>
                  <a:gd name="T46" fmla="*/ 78 w 148"/>
                  <a:gd name="T47" fmla="*/ 109 h 192"/>
                  <a:gd name="T48" fmla="*/ 76 w 148"/>
                  <a:gd name="T49" fmla="*/ 112 h 192"/>
                  <a:gd name="T50" fmla="*/ 73 w 148"/>
                  <a:gd name="T51" fmla="*/ 116 h 192"/>
                  <a:gd name="T52" fmla="*/ 44 w 148"/>
                  <a:gd name="T53" fmla="*/ 124 h 192"/>
                  <a:gd name="T54" fmla="*/ 19 w 148"/>
                  <a:gd name="T55" fmla="*/ 137 h 192"/>
                  <a:gd name="T56" fmla="*/ 5 w 148"/>
                  <a:gd name="T57" fmla="*/ 153 h 192"/>
                  <a:gd name="T58" fmla="*/ 0 w 148"/>
                  <a:gd name="T59" fmla="*/ 173 h 192"/>
                  <a:gd name="T60" fmla="*/ 0 w 148"/>
                  <a:gd name="T61" fmla="*/ 187 h 192"/>
                  <a:gd name="T62" fmla="*/ 5 w 148"/>
                  <a:gd name="T63" fmla="*/ 192 h 192"/>
                  <a:gd name="T64" fmla="*/ 70 w 148"/>
                  <a:gd name="T65" fmla="*/ 192 h 192"/>
                  <a:gd name="T66" fmla="*/ 75 w 148"/>
                  <a:gd name="T67" fmla="*/ 187 h 192"/>
                  <a:gd name="T68" fmla="*/ 78 w 148"/>
                  <a:gd name="T69" fmla="*/ 178 h 192"/>
                  <a:gd name="T70" fmla="*/ 88 w 148"/>
                  <a:gd name="T71" fmla="*/ 160 h 192"/>
                  <a:gd name="T72" fmla="*/ 102 w 148"/>
                  <a:gd name="T73" fmla="*/ 143 h 192"/>
                  <a:gd name="T74" fmla="*/ 124 w 148"/>
                  <a:gd name="T75" fmla="*/ 130 h 192"/>
                  <a:gd name="T76" fmla="*/ 135 w 148"/>
                  <a:gd name="T77" fmla="*/ 12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8" h="192">
                    <a:moveTo>
                      <a:pt x="135" y="124"/>
                    </a:moveTo>
                    <a:lnTo>
                      <a:pt x="135" y="124"/>
                    </a:lnTo>
                    <a:lnTo>
                      <a:pt x="138" y="122"/>
                    </a:lnTo>
                    <a:lnTo>
                      <a:pt x="138" y="119"/>
                    </a:lnTo>
                    <a:lnTo>
                      <a:pt x="137" y="117"/>
                    </a:lnTo>
                    <a:lnTo>
                      <a:pt x="135" y="116"/>
                    </a:lnTo>
                    <a:lnTo>
                      <a:pt x="135" y="116"/>
                    </a:lnTo>
                    <a:lnTo>
                      <a:pt x="133" y="116"/>
                    </a:lnTo>
                    <a:lnTo>
                      <a:pt x="133" y="116"/>
                    </a:lnTo>
                    <a:lnTo>
                      <a:pt x="130" y="112"/>
                    </a:lnTo>
                    <a:lnTo>
                      <a:pt x="128" y="109"/>
                    </a:lnTo>
                    <a:lnTo>
                      <a:pt x="128" y="109"/>
                    </a:lnTo>
                    <a:lnTo>
                      <a:pt x="130" y="106"/>
                    </a:lnTo>
                    <a:lnTo>
                      <a:pt x="132" y="104"/>
                    </a:lnTo>
                    <a:lnTo>
                      <a:pt x="132" y="104"/>
                    </a:lnTo>
                    <a:lnTo>
                      <a:pt x="137" y="99"/>
                    </a:lnTo>
                    <a:lnTo>
                      <a:pt x="140" y="94"/>
                    </a:lnTo>
                    <a:lnTo>
                      <a:pt x="145" y="83"/>
                    </a:lnTo>
                    <a:lnTo>
                      <a:pt x="148" y="70"/>
                    </a:lnTo>
                    <a:lnTo>
                      <a:pt x="148" y="54"/>
                    </a:lnTo>
                    <a:lnTo>
                      <a:pt x="148" y="54"/>
                    </a:lnTo>
                    <a:lnTo>
                      <a:pt x="148" y="42"/>
                    </a:lnTo>
                    <a:lnTo>
                      <a:pt x="145" y="33"/>
                    </a:lnTo>
                    <a:lnTo>
                      <a:pt x="141" y="23"/>
                    </a:lnTo>
                    <a:lnTo>
                      <a:pt x="135" y="16"/>
                    </a:lnTo>
                    <a:lnTo>
                      <a:pt x="128" y="10"/>
                    </a:lnTo>
                    <a:lnTo>
                      <a:pt x="120" y="5"/>
                    </a:lnTo>
                    <a:lnTo>
                      <a:pt x="112" y="2"/>
                    </a:lnTo>
                    <a:lnTo>
                      <a:pt x="102" y="0"/>
                    </a:lnTo>
                    <a:lnTo>
                      <a:pt x="102" y="0"/>
                    </a:lnTo>
                    <a:lnTo>
                      <a:pt x="94" y="2"/>
                    </a:lnTo>
                    <a:lnTo>
                      <a:pt x="86" y="5"/>
                    </a:lnTo>
                    <a:lnTo>
                      <a:pt x="78" y="10"/>
                    </a:lnTo>
                    <a:lnTo>
                      <a:pt x="71" y="16"/>
                    </a:lnTo>
                    <a:lnTo>
                      <a:pt x="65" y="23"/>
                    </a:lnTo>
                    <a:lnTo>
                      <a:pt x="62" y="33"/>
                    </a:lnTo>
                    <a:lnTo>
                      <a:pt x="58" y="42"/>
                    </a:lnTo>
                    <a:lnTo>
                      <a:pt x="58" y="54"/>
                    </a:lnTo>
                    <a:lnTo>
                      <a:pt x="58" y="54"/>
                    </a:lnTo>
                    <a:lnTo>
                      <a:pt x="58" y="70"/>
                    </a:lnTo>
                    <a:lnTo>
                      <a:pt x="62" y="83"/>
                    </a:lnTo>
                    <a:lnTo>
                      <a:pt x="66" y="94"/>
                    </a:lnTo>
                    <a:lnTo>
                      <a:pt x="70" y="99"/>
                    </a:lnTo>
                    <a:lnTo>
                      <a:pt x="75" y="104"/>
                    </a:lnTo>
                    <a:lnTo>
                      <a:pt x="75" y="104"/>
                    </a:lnTo>
                    <a:lnTo>
                      <a:pt x="76" y="106"/>
                    </a:lnTo>
                    <a:lnTo>
                      <a:pt x="78" y="109"/>
                    </a:lnTo>
                    <a:lnTo>
                      <a:pt x="78" y="109"/>
                    </a:lnTo>
                    <a:lnTo>
                      <a:pt x="78" y="109"/>
                    </a:lnTo>
                    <a:lnTo>
                      <a:pt x="76" y="112"/>
                    </a:lnTo>
                    <a:lnTo>
                      <a:pt x="73" y="116"/>
                    </a:lnTo>
                    <a:lnTo>
                      <a:pt x="73" y="116"/>
                    </a:lnTo>
                    <a:lnTo>
                      <a:pt x="57" y="119"/>
                    </a:lnTo>
                    <a:lnTo>
                      <a:pt x="44" y="124"/>
                    </a:lnTo>
                    <a:lnTo>
                      <a:pt x="31" y="129"/>
                    </a:lnTo>
                    <a:lnTo>
                      <a:pt x="19" y="137"/>
                    </a:lnTo>
                    <a:lnTo>
                      <a:pt x="11" y="145"/>
                    </a:lnTo>
                    <a:lnTo>
                      <a:pt x="5" y="153"/>
                    </a:lnTo>
                    <a:lnTo>
                      <a:pt x="1" y="163"/>
                    </a:lnTo>
                    <a:lnTo>
                      <a:pt x="0" y="173"/>
                    </a:lnTo>
                    <a:lnTo>
                      <a:pt x="0" y="187"/>
                    </a:lnTo>
                    <a:lnTo>
                      <a:pt x="0" y="187"/>
                    </a:lnTo>
                    <a:lnTo>
                      <a:pt x="1" y="191"/>
                    </a:lnTo>
                    <a:lnTo>
                      <a:pt x="5" y="192"/>
                    </a:lnTo>
                    <a:lnTo>
                      <a:pt x="70" y="192"/>
                    </a:lnTo>
                    <a:lnTo>
                      <a:pt x="70" y="192"/>
                    </a:lnTo>
                    <a:lnTo>
                      <a:pt x="73" y="191"/>
                    </a:lnTo>
                    <a:lnTo>
                      <a:pt x="75" y="187"/>
                    </a:lnTo>
                    <a:lnTo>
                      <a:pt x="75" y="187"/>
                    </a:lnTo>
                    <a:lnTo>
                      <a:pt x="78" y="178"/>
                    </a:lnTo>
                    <a:lnTo>
                      <a:pt x="81" y="169"/>
                    </a:lnTo>
                    <a:lnTo>
                      <a:pt x="88" y="160"/>
                    </a:lnTo>
                    <a:lnTo>
                      <a:pt x="94" y="152"/>
                    </a:lnTo>
                    <a:lnTo>
                      <a:pt x="102" y="143"/>
                    </a:lnTo>
                    <a:lnTo>
                      <a:pt x="112" y="137"/>
                    </a:lnTo>
                    <a:lnTo>
                      <a:pt x="124" y="130"/>
                    </a:lnTo>
                    <a:lnTo>
                      <a:pt x="135" y="124"/>
                    </a:lnTo>
                    <a:lnTo>
                      <a:pt x="135" y="1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a:endParaRPr>
              </a:p>
            </p:txBody>
          </p:sp>
          <p:sp>
            <p:nvSpPr>
              <p:cNvPr id="54" name="Freeform 352">
                <a:extLst>
                  <a:ext uri="{FF2B5EF4-FFF2-40B4-BE49-F238E27FC236}">
                    <a16:creationId xmlns:a16="http://schemas.microsoft.com/office/drawing/2014/main" id="{3EB907F6-75E6-47B2-87B9-8712DB4C9C8A}"/>
                  </a:ext>
                </a:extLst>
              </p:cNvPr>
              <p:cNvSpPr>
                <a:spLocks/>
              </p:cNvSpPr>
              <p:nvPr/>
            </p:nvSpPr>
            <p:spPr bwMode="auto">
              <a:xfrm>
                <a:off x="10222047" y="1408760"/>
                <a:ext cx="219273" cy="280670"/>
              </a:xfrm>
              <a:custGeom>
                <a:avLst/>
                <a:gdLst>
                  <a:gd name="T0" fmla="*/ 77 w 150"/>
                  <a:gd name="T1" fmla="*/ 116 h 192"/>
                  <a:gd name="T2" fmla="*/ 72 w 150"/>
                  <a:gd name="T3" fmla="*/ 109 h 192"/>
                  <a:gd name="T4" fmla="*/ 72 w 150"/>
                  <a:gd name="T5" fmla="*/ 106 h 192"/>
                  <a:gd name="T6" fmla="*/ 73 w 150"/>
                  <a:gd name="T7" fmla="*/ 104 h 192"/>
                  <a:gd name="T8" fmla="*/ 82 w 150"/>
                  <a:gd name="T9" fmla="*/ 94 h 192"/>
                  <a:gd name="T10" fmla="*/ 90 w 150"/>
                  <a:gd name="T11" fmla="*/ 70 h 192"/>
                  <a:gd name="T12" fmla="*/ 91 w 150"/>
                  <a:gd name="T13" fmla="*/ 54 h 192"/>
                  <a:gd name="T14" fmla="*/ 86 w 150"/>
                  <a:gd name="T15" fmla="*/ 33 h 192"/>
                  <a:gd name="T16" fmla="*/ 77 w 150"/>
                  <a:gd name="T17" fmla="*/ 16 h 192"/>
                  <a:gd name="T18" fmla="*/ 64 w 150"/>
                  <a:gd name="T19" fmla="*/ 5 h 192"/>
                  <a:gd name="T20" fmla="*/ 46 w 150"/>
                  <a:gd name="T21" fmla="*/ 0 h 192"/>
                  <a:gd name="T22" fmla="*/ 36 w 150"/>
                  <a:gd name="T23" fmla="*/ 2 h 192"/>
                  <a:gd name="T24" fmla="*/ 20 w 150"/>
                  <a:gd name="T25" fmla="*/ 10 h 192"/>
                  <a:gd name="T26" fmla="*/ 8 w 150"/>
                  <a:gd name="T27" fmla="*/ 23 h 192"/>
                  <a:gd name="T28" fmla="*/ 2 w 150"/>
                  <a:gd name="T29" fmla="*/ 42 h 192"/>
                  <a:gd name="T30" fmla="*/ 0 w 150"/>
                  <a:gd name="T31" fmla="*/ 54 h 192"/>
                  <a:gd name="T32" fmla="*/ 3 w 150"/>
                  <a:gd name="T33" fmla="*/ 83 h 192"/>
                  <a:gd name="T34" fmla="*/ 13 w 150"/>
                  <a:gd name="T35" fmla="*/ 99 h 192"/>
                  <a:gd name="T36" fmla="*/ 18 w 150"/>
                  <a:gd name="T37" fmla="*/ 104 h 192"/>
                  <a:gd name="T38" fmla="*/ 20 w 150"/>
                  <a:gd name="T39" fmla="*/ 109 h 192"/>
                  <a:gd name="T40" fmla="*/ 20 w 150"/>
                  <a:gd name="T41" fmla="*/ 109 h 192"/>
                  <a:gd name="T42" fmla="*/ 15 w 150"/>
                  <a:gd name="T43" fmla="*/ 116 h 192"/>
                  <a:gd name="T44" fmla="*/ 15 w 150"/>
                  <a:gd name="T45" fmla="*/ 116 h 192"/>
                  <a:gd name="T46" fmla="*/ 11 w 150"/>
                  <a:gd name="T47" fmla="*/ 117 h 192"/>
                  <a:gd name="T48" fmla="*/ 11 w 150"/>
                  <a:gd name="T49" fmla="*/ 122 h 192"/>
                  <a:gd name="T50" fmla="*/ 13 w 150"/>
                  <a:gd name="T51" fmla="*/ 124 h 192"/>
                  <a:gd name="T52" fmla="*/ 36 w 150"/>
                  <a:gd name="T53" fmla="*/ 137 h 192"/>
                  <a:gd name="T54" fmla="*/ 54 w 150"/>
                  <a:gd name="T55" fmla="*/ 152 h 192"/>
                  <a:gd name="T56" fmla="*/ 67 w 150"/>
                  <a:gd name="T57" fmla="*/ 169 h 192"/>
                  <a:gd name="T58" fmla="*/ 73 w 150"/>
                  <a:gd name="T59" fmla="*/ 187 h 192"/>
                  <a:gd name="T60" fmla="*/ 75 w 150"/>
                  <a:gd name="T61" fmla="*/ 191 h 192"/>
                  <a:gd name="T62" fmla="*/ 145 w 150"/>
                  <a:gd name="T63" fmla="*/ 192 h 192"/>
                  <a:gd name="T64" fmla="*/ 148 w 150"/>
                  <a:gd name="T65" fmla="*/ 191 h 192"/>
                  <a:gd name="T66" fmla="*/ 150 w 150"/>
                  <a:gd name="T67" fmla="*/ 173 h 192"/>
                  <a:gd name="T68" fmla="*/ 148 w 150"/>
                  <a:gd name="T69" fmla="*/ 163 h 192"/>
                  <a:gd name="T70" fmla="*/ 137 w 150"/>
                  <a:gd name="T71" fmla="*/ 145 h 192"/>
                  <a:gd name="T72" fmla="*/ 117 w 150"/>
                  <a:gd name="T73" fmla="*/ 129 h 192"/>
                  <a:gd name="T74" fmla="*/ 91 w 150"/>
                  <a:gd name="T75" fmla="*/ 119 h 192"/>
                  <a:gd name="T76" fmla="*/ 77 w 150"/>
                  <a:gd name="T77" fmla="*/ 116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0" h="192">
                    <a:moveTo>
                      <a:pt x="77" y="116"/>
                    </a:moveTo>
                    <a:lnTo>
                      <a:pt x="77" y="116"/>
                    </a:lnTo>
                    <a:lnTo>
                      <a:pt x="72" y="112"/>
                    </a:lnTo>
                    <a:lnTo>
                      <a:pt x="72" y="109"/>
                    </a:lnTo>
                    <a:lnTo>
                      <a:pt x="72" y="109"/>
                    </a:lnTo>
                    <a:lnTo>
                      <a:pt x="72" y="106"/>
                    </a:lnTo>
                    <a:lnTo>
                      <a:pt x="73" y="104"/>
                    </a:lnTo>
                    <a:lnTo>
                      <a:pt x="73" y="104"/>
                    </a:lnTo>
                    <a:lnTo>
                      <a:pt x="78" y="99"/>
                    </a:lnTo>
                    <a:lnTo>
                      <a:pt x="82" y="94"/>
                    </a:lnTo>
                    <a:lnTo>
                      <a:pt x="86" y="83"/>
                    </a:lnTo>
                    <a:lnTo>
                      <a:pt x="90" y="70"/>
                    </a:lnTo>
                    <a:lnTo>
                      <a:pt x="91" y="54"/>
                    </a:lnTo>
                    <a:lnTo>
                      <a:pt x="91" y="54"/>
                    </a:lnTo>
                    <a:lnTo>
                      <a:pt x="90" y="42"/>
                    </a:lnTo>
                    <a:lnTo>
                      <a:pt x="86" y="33"/>
                    </a:lnTo>
                    <a:lnTo>
                      <a:pt x="83" y="23"/>
                    </a:lnTo>
                    <a:lnTo>
                      <a:pt x="77" y="16"/>
                    </a:lnTo>
                    <a:lnTo>
                      <a:pt x="70" y="10"/>
                    </a:lnTo>
                    <a:lnTo>
                      <a:pt x="64" y="5"/>
                    </a:lnTo>
                    <a:lnTo>
                      <a:pt x="54" y="2"/>
                    </a:lnTo>
                    <a:lnTo>
                      <a:pt x="46" y="0"/>
                    </a:lnTo>
                    <a:lnTo>
                      <a:pt x="46" y="0"/>
                    </a:lnTo>
                    <a:lnTo>
                      <a:pt x="36" y="2"/>
                    </a:lnTo>
                    <a:lnTo>
                      <a:pt x="28" y="5"/>
                    </a:lnTo>
                    <a:lnTo>
                      <a:pt x="20" y="10"/>
                    </a:lnTo>
                    <a:lnTo>
                      <a:pt x="13" y="16"/>
                    </a:lnTo>
                    <a:lnTo>
                      <a:pt x="8" y="23"/>
                    </a:lnTo>
                    <a:lnTo>
                      <a:pt x="3" y="33"/>
                    </a:lnTo>
                    <a:lnTo>
                      <a:pt x="2" y="42"/>
                    </a:lnTo>
                    <a:lnTo>
                      <a:pt x="0" y="54"/>
                    </a:lnTo>
                    <a:lnTo>
                      <a:pt x="0" y="54"/>
                    </a:lnTo>
                    <a:lnTo>
                      <a:pt x="2" y="70"/>
                    </a:lnTo>
                    <a:lnTo>
                      <a:pt x="3" y="83"/>
                    </a:lnTo>
                    <a:lnTo>
                      <a:pt x="8" y="94"/>
                    </a:lnTo>
                    <a:lnTo>
                      <a:pt x="13" y="99"/>
                    </a:lnTo>
                    <a:lnTo>
                      <a:pt x="18" y="104"/>
                    </a:lnTo>
                    <a:lnTo>
                      <a:pt x="18" y="104"/>
                    </a:lnTo>
                    <a:lnTo>
                      <a:pt x="20" y="106"/>
                    </a:lnTo>
                    <a:lnTo>
                      <a:pt x="20" y="109"/>
                    </a:lnTo>
                    <a:lnTo>
                      <a:pt x="20" y="109"/>
                    </a:lnTo>
                    <a:lnTo>
                      <a:pt x="20" y="109"/>
                    </a:lnTo>
                    <a:lnTo>
                      <a:pt x="18" y="112"/>
                    </a:lnTo>
                    <a:lnTo>
                      <a:pt x="15" y="116"/>
                    </a:lnTo>
                    <a:lnTo>
                      <a:pt x="15" y="116"/>
                    </a:lnTo>
                    <a:lnTo>
                      <a:pt x="15" y="116"/>
                    </a:lnTo>
                    <a:lnTo>
                      <a:pt x="15" y="116"/>
                    </a:lnTo>
                    <a:lnTo>
                      <a:pt x="11" y="117"/>
                    </a:lnTo>
                    <a:lnTo>
                      <a:pt x="10" y="119"/>
                    </a:lnTo>
                    <a:lnTo>
                      <a:pt x="11" y="122"/>
                    </a:lnTo>
                    <a:lnTo>
                      <a:pt x="13" y="124"/>
                    </a:lnTo>
                    <a:lnTo>
                      <a:pt x="13" y="124"/>
                    </a:lnTo>
                    <a:lnTo>
                      <a:pt x="25" y="130"/>
                    </a:lnTo>
                    <a:lnTo>
                      <a:pt x="36" y="137"/>
                    </a:lnTo>
                    <a:lnTo>
                      <a:pt x="46" y="143"/>
                    </a:lnTo>
                    <a:lnTo>
                      <a:pt x="54" y="152"/>
                    </a:lnTo>
                    <a:lnTo>
                      <a:pt x="60" y="160"/>
                    </a:lnTo>
                    <a:lnTo>
                      <a:pt x="67" y="169"/>
                    </a:lnTo>
                    <a:lnTo>
                      <a:pt x="72" y="178"/>
                    </a:lnTo>
                    <a:lnTo>
                      <a:pt x="73" y="187"/>
                    </a:lnTo>
                    <a:lnTo>
                      <a:pt x="73" y="187"/>
                    </a:lnTo>
                    <a:lnTo>
                      <a:pt x="75" y="191"/>
                    </a:lnTo>
                    <a:lnTo>
                      <a:pt x="78" y="192"/>
                    </a:lnTo>
                    <a:lnTo>
                      <a:pt x="145" y="192"/>
                    </a:lnTo>
                    <a:lnTo>
                      <a:pt x="145" y="192"/>
                    </a:lnTo>
                    <a:lnTo>
                      <a:pt x="148" y="191"/>
                    </a:lnTo>
                    <a:lnTo>
                      <a:pt x="150" y="187"/>
                    </a:lnTo>
                    <a:lnTo>
                      <a:pt x="150" y="173"/>
                    </a:lnTo>
                    <a:lnTo>
                      <a:pt x="150" y="173"/>
                    </a:lnTo>
                    <a:lnTo>
                      <a:pt x="148" y="163"/>
                    </a:lnTo>
                    <a:lnTo>
                      <a:pt x="143" y="153"/>
                    </a:lnTo>
                    <a:lnTo>
                      <a:pt x="137" y="145"/>
                    </a:lnTo>
                    <a:lnTo>
                      <a:pt x="129" y="137"/>
                    </a:lnTo>
                    <a:lnTo>
                      <a:pt x="117" y="129"/>
                    </a:lnTo>
                    <a:lnTo>
                      <a:pt x="106" y="124"/>
                    </a:lnTo>
                    <a:lnTo>
                      <a:pt x="91" y="119"/>
                    </a:lnTo>
                    <a:lnTo>
                      <a:pt x="77" y="116"/>
                    </a:lnTo>
                    <a:lnTo>
                      <a:pt x="77" y="1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a:endParaRPr>
              </a:p>
            </p:txBody>
          </p:sp>
        </p:grpSp>
      </p:grpSp>
      <p:cxnSp>
        <p:nvCxnSpPr>
          <p:cNvPr id="55" name="Straight Arrow Connector 54">
            <a:extLst>
              <a:ext uri="{FF2B5EF4-FFF2-40B4-BE49-F238E27FC236}">
                <a16:creationId xmlns:a16="http://schemas.microsoft.com/office/drawing/2014/main" id="{1C73C951-5D9B-42E6-9ACF-FEE6EDD4C8F8}"/>
              </a:ext>
            </a:extLst>
          </p:cNvPr>
          <p:cNvCxnSpPr/>
          <p:nvPr/>
        </p:nvCxnSpPr>
        <p:spPr>
          <a:xfrm>
            <a:off x="4008582" y="2507826"/>
            <a:ext cx="2927927" cy="0"/>
          </a:xfrm>
          <a:prstGeom prst="straightConnector1">
            <a:avLst/>
          </a:prstGeom>
          <a:noFill/>
          <a:ln w="19050" cap="flat" cmpd="sng" algn="ctr">
            <a:solidFill>
              <a:sysClr val="windowText" lastClr="000000">
                <a:lumMod val="50000"/>
                <a:lumOff val="50000"/>
              </a:sysClr>
            </a:solidFill>
            <a:prstDash val="dash"/>
            <a:tailEnd type="triangle"/>
          </a:ln>
          <a:effectLst/>
        </p:spPr>
      </p:cxnSp>
      <p:cxnSp>
        <p:nvCxnSpPr>
          <p:cNvPr id="56" name="Straight Arrow Connector 55">
            <a:extLst>
              <a:ext uri="{FF2B5EF4-FFF2-40B4-BE49-F238E27FC236}">
                <a16:creationId xmlns:a16="http://schemas.microsoft.com/office/drawing/2014/main" id="{3FE229B2-2939-4A9A-93B1-B3E59626926F}"/>
              </a:ext>
            </a:extLst>
          </p:cNvPr>
          <p:cNvCxnSpPr>
            <a:cxnSpLocks/>
          </p:cNvCxnSpPr>
          <p:nvPr/>
        </p:nvCxnSpPr>
        <p:spPr>
          <a:xfrm flipH="1">
            <a:off x="3913119" y="3981026"/>
            <a:ext cx="2927927" cy="0"/>
          </a:xfrm>
          <a:prstGeom prst="straightConnector1">
            <a:avLst/>
          </a:prstGeom>
          <a:noFill/>
          <a:ln w="19050" cap="flat" cmpd="sng" algn="ctr">
            <a:solidFill>
              <a:sysClr val="windowText" lastClr="000000">
                <a:lumMod val="50000"/>
                <a:lumOff val="50000"/>
              </a:sysClr>
            </a:solidFill>
            <a:prstDash val="dash"/>
            <a:tailEnd type="triangle"/>
          </a:ln>
          <a:effectLst/>
        </p:spPr>
      </p:cxnSp>
      <p:grpSp>
        <p:nvGrpSpPr>
          <p:cNvPr id="57" name="Group 56">
            <a:extLst>
              <a:ext uri="{FF2B5EF4-FFF2-40B4-BE49-F238E27FC236}">
                <a16:creationId xmlns:a16="http://schemas.microsoft.com/office/drawing/2014/main" id="{9A5DBB60-BBF2-4014-8FEE-42481D2E4197}"/>
              </a:ext>
            </a:extLst>
          </p:cNvPr>
          <p:cNvGrpSpPr>
            <a:grpSpLocks noChangeAspect="1"/>
          </p:cNvGrpSpPr>
          <p:nvPr/>
        </p:nvGrpSpPr>
        <p:grpSpPr>
          <a:xfrm>
            <a:off x="2317721" y="2197218"/>
            <a:ext cx="1683002" cy="1635370"/>
            <a:chOff x="5162194" y="235858"/>
            <a:chExt cx="2743200" cy="2743200"/>
          </a:xfrm>
        </p:grpSpPr>
        <p:sp>
          <p:nvSpPr>
            <p:cNvPr id="58" name="Oval 57">
              <a:extLst>
                <a:ext uri="{FF2B5EF4-FFF2-40B4-BE49-F238E27FC236}">
                  <a16:creationId xmlns:a16="http://schemas.microsoft.com/office/drawing/2014/main" id="{DB5E9ED2-0819-4577-A5F1-4C5DD8FE5C5E}"/>
                </a:ext>
              </a:extLst>
            </p:cNvPr>
            <p:cNvSpPr/>
            <p:nvPr/>
          </p:nvSpPr>
          <p:spPr>
            <a:xfrm>
              <a:off x="5162194" y="235858"/>
              <a:ext cx="2743200" cy="2743200"/>
            </a:xfrm>
            <a:prstGeom prst="ellipse">
              <a:avLst/>
            </a:prstGeom>
            <a:solidFill>
              <a:sysClr val="window" lastClr="FFFFFF">
                <a:lumMod val="95000"/>
              </a:sysClr>
            </a:solidFill>
            <a:ln w="25400" cap="flat" cmpd="sng" algn="ctr">
              <a:noFill/>
              <a:prstDash val="solid"/>
            </a:ln>
            <a:effectLst>
              <a:outerShdw blurRad="203200" dist="127000" dir="2700000" algn="tl" rotWithShape="0">
                <a:prstClr val="black">
                  <a:alpha val="40000"/>
                </a:prstClr>
              </a:outerShdw>
            </a:effectLst>
            <a:scene3d>
              <a:camera prst="orthographicFront"/>
              <a:lightRig rig="threePt" dir="t">
                <a:rot lat="0" lon="0" rev="4800000"/>
              </a:lightRig>
            </a:scene3d>
            <a:sp3d extrusionH="266700">
              <a:bevelT w="431800" h="19050" prst="relaxedInset"/>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59" name="Oval 58">
              <a:extLst>
                <a:ext uri="{FF2B5EF4-FFF2-40B4-BE49-F238E27FC236}">
                  <a16:creationId xmlns:a16="http://schemas.microsoft.com/office/drawing/2014/main" id="{56064852-28EF-410C-98D3-0CA42263BDD3}"/>
                </a:ext>
              </a:extLst>
            </p:cNvPr>
            <p:cNvSpPr/>
            <p:nvPr/>
          </p:nvSpPr>
          <p:spPr>
            <a:xfrm>
              <a:off x="5448851" y="522515"/>
              <a:ext cx="2169886" cy="2169886"/>
            </a:xfrm>
            <a:prstGeom prst="ellipse">
              <a:avLst/>
            </a:prstGeom>
            <a:solidFill>
              <a:srgbClr val="037CB9"/>
            </a:solidFill>
            <a:ln w="25400" cap="flat" cmpd="sng" algn="ctr">
              <a:noFill/>
              <a:prstDash val="solid"/>
            </a:ln>
            <a:effectLst>
              <a:outerShdw blurRad="177800" dist="127000" dir="2700000" algn="tl" rotWithShape="0">
                <a:prstClr val="black">
                  <a:alpha val="40000"/>
                </a:prstClr>
              </a:outerShdw>
            </a:effectLst>
            <a:scene3d>
              <a:camera prst="orthographicFront"/>
              <a:lightRig rig="threePt" dir="t">
                <a:rot lat="0" lon="0" rev="4800000"/>
              </a:lightRig>
            </a:scene3d>
            <a:sp3d>
              <a:bevelT w="158750" h="1905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60" name="TextBox 59">
              <a:extLst>
                <a:ext uri="{FF2B5EF4-FFF2-40B4-BE49-F238E27FC236}">
                  <a16:creationId xmlns:a16="http://schemas.microsoft.com/office/drawing/2014/main" id="{EB52F907-3081-44F9-A22C-B8D62C0E23BE}"/>
                </a:ext>
              </a:extLst>
            </p:cNvPr>
            <p:cNvSpPr txBox="1"/>
            <p:nvPr/>
          </p:nvSpPr>
          <p:spPr>
            <a:xfrm>
              <a:off x="5515828" y="1396338"/>
              <a:ext cx="2034604" cy="877659"/>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96 Sans Light" panose="020C0304020203020204"/>
                </a:rPr>
                <a:t>Data Architecture</a:t>
              </a:r>
            </a:p>
          </p:txBody>
        </p:sp>
        <p:grpSp>
          <p:nvGrpSpPr>
            <p:cNvPr id="61" name="Group">
              <a:extLst>
                <a:ext uri="{FF2B5EF4-FFF2-40B4-BE49-F238E27FC236}">
                  <a16:creationId xmlns:a16="http://schemas.microsoft.com/office/drawing/2014/main" id="{2B9BF392-9DE9-42FF-8158-E88B3CC10C03}"/>
                </a:ext>
              </a:extLst>
            </p:cNvPr>
            <p:cNvGrpSpPr/>
            <p:nvPr/>
          </p:nvGrpSpPr>
          <p:grpSpPr>
            <a:xfrm>
              <a:off x="6124295" y="771737"/>
              <a:ext cx="836281" cy="543691"/>
              <a:chOff x="9774729" y="1359058"/>
              <a:chExt cx="666591" cy="381536"/>
            </a:xfrm>
            <a:solidFill>
              <a:sysClr val="window" lastClr="FFFFFF">
                <a:lumMod val="95000"/>
              </a:sysClr>
            </a:solidFill>
          </p:grpSpPr>
          <p:sp>
            <p:nvSpPr>
              <p:cNvPr id="62" name="Freeform 350">
                <a:extLst>
                  <a:ext uri="{FF2B5EF4-FFF2-40B4-BE49-F238E27FC236}">
                    <a16:creationId xmlns:a16="http://schemas.microsoft.com/office/drawing/2014/main" id="{726A161C-0C4D-4D96-A706-171A2B251FB0}"/>
                  </a:ext>
                </a:extLst>
              </p:cNvPr>
              <p:cNvSpPr>
                <a:spLocks/>
              </p:cNvSpPr>
              <p:nvPr/>
            </p:nvSpPr>
            <p:spPr bwMode="auto">
              <a:xfrm>
                <a:off x="9900446" y="1359058"/>
                <a:ext cx="415158" cy="381536"/>
              </a:xfrm>
              <a:custGeom>
                <a:avLst/>
                <a:gdLst>
                  <a:gd name="T0" fmla="*/ 0 w 284"/>
                  <a:gd name="T1" fmla="*/ 252 h 261"/>
                  <a:gd name="T2" fmla="*/ 2 w 284"/>
                  <a:gd name="T3" fmla="*/ 257 h 261"/>
                  <a:gd name="T4" fmla="*/ 8 w 284"/>
                  <a:gd name="T5" fmla="*/ 261 h 261"/>
                  <a:gd name="T6" fmla="*/ 275 w 284"/>
                  <a:gd name="T7" fmla="*/ 261 h 261"/>
                  <a:gd name="T8" fmla="*/ 280 w 284"/>
                  <a:gd name="T9" fmla="*/ 257 h 261"/>
                  <a:gd name="T10" fmla="*/ 284 w 284"/>
                  <a:gd name="T11" fmla="*/ 252 h 261"/>
                  <a:gd name="T12" fmla="*/ 284 w 284"/>
                  <a:gd name="T13" fmla="*/ 234 h 261"/>
                  <a:gd name="T14" fmla="*/ 275 w 284"/>
                  <a:gd name="T15" fmla="*/ 208 h 261"/>
                  <a:gd name="T16" fmla="*/ 254 w 284"/>
                  <a:gd name="T17" fmla="*/ 186 h 261"/>
                  <a:gd name="T18" fmla="*/ 223 w 284"/>
                  <a:gd name="T19" fmla="*/ 168 h 261"/>
                  <a:gd name="T20" fmla="*/ 184 w 284"/>
                  <a:gd name="T21" fmla="*/ 156 h 261"/>
                  <a:gd name="T22" fmla="*/ 181 w 284"/>
                  <a:gd name="T23" fmla="*/ 155 h 261"/>
                  <a:gd name="T24" fmla="*/ 176 w 284"/>
                  <a:gd name="T25" fmla="*/ 150 h 261"/>
                  <a:gd name="T26" fmla="*/ 176 w 284"/>
                  <a:gd name="T27" fmla="*/ 148 h 261"/>
                  <a:gd name="T28" fmla="*/ 179 w 284"/>
                  <a:gd name="T29" fmla="*/ 142 h 261"/>
                  <a:gd name="T30" fmla="*/ 186 w 284"/>
                  <a:gd name="T31" fmla="*/ 135 h 261"/>
                  <a:gd name="T32" fmla="*/ 196 w 284"/>
                  <a:gd name="T33" fmla="*/ 120 h 261"/>
                  <a:gd name="T34" fmla="*/ 202 w 284"/>
                  <a:gd name="T35" fmla="*/ 94 h 261"/>
                  <a:gd name="T36" fmla="*/ 204 w 284"/>
                  <a:gd name="T37" fmla="*/ 73 h 261"/>
                  <a:gd name="T38" fmla="*/ 199 w 284"/>
                  <a:gd name="T39" fmla="*/ 44 h 261"/>
                  <a:gd name="T40" fmla="*/ 184 w 284"/>
                  <a:gd name="T41" fmla="*/ 21 h 261"/>
                  <a:gd name="T42" fmla="*/ 165 w 284"/>
                  <a:gd name="T43" fmla="*/ 5 h 261"/>
                  <a:gd name="T44" fmla="*/ 142 w 284"/>
                  <a:gd name="T45" fmla="*/ 0 h 261"/>
                  <a:gd name="T46" fmla="*/ 129 w 284"/>
                  <a:gd name="T47" fmla="*/ 1 h 261"/>
                  <a:gd name="T48" fmla="*/ 106 w 284"/>
                  <a:gd name="T49" fmla="*/ 11 h 261"/>
                  <a:gd name="T50" fmla="*/ 90 w 284"/>
                  <a:gd name="T51" fmla="*/ 31 h 261"/>
                  <a:gd name="T52" fmla="*/ 82 w 284"/>
                  <a:gd name="T53" fmla="*/ 58 h 261"/>
                  <a:gd name="T54" fmla="*/ 80 w 284"/>
                  <a:gd name="T55" fmla="*/ 73 h 261"/>
                  <a:gd name="T56" fmla="*/ 85 w 284"/>
                  <a:gd name="T57" fmla="*/ 112 h 261"/>
                  <a:gd name="T58" fmla="*/ 91 w 284"/>
                  <a:gd name="T59" fmla="*/ 128 h 261"/>
                  <a:gd name="T60" fmla="*/ 103 w 284"/>
                  <a:gd name="T61" fmla="*/ 142 h 261"/>
                  <a:gd name="T62" fmla="*/ 106 w 284"/>
                  <a:gd name="T63" fmla="*/ 143 h 261"/>
                  <a:gd name="T64" fmla="*/ 106 w 284"/>
                  <a:gd name="T65" fmla="*/ 148 h 261"/>
                  <a:gd name="T66" fmla="*/ 106 w 284"/>
                  <a:gd name="T67" fmla="*/ 150 h 261"/>
                  <a:gd name="T68" fmla="*/ 103 w 284"/>
                  <a:gd name="T69" fmla="*/ 155 h 261"/>
                  <a:gd name="T70" fmla="*/ 99 w 284"/>
                  <a:gd name="T71" fmla="*/ 156 h 261"/>
                  <a:gd name="T72" fmla="*/ 59 w 284"/>
                  <a:gd name="T73" fmla="*/ 168 h 261"/>
                  <a:gd name="T74" fmla="*/ 28 w 284"/>
                  <a:gd name="T75" fmla="*/ 186 h 261"/>
                  <a:gd name="T76" fmla="*/ 7 w 284"/>
                  <a:gd name="T77" fmla="*/ 208 h 261"/>
                  <a:gd name="T78" fmla="*/ 0 w 284"/>
                  <a:gd name="T79" fmla="*/ 234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4" h="261">
                    <a:moveTo>
                      <a:pt x="0" y="252"/>
                    </a:moveTo>
                    <a:lnTo>
                      <a:pt x="0" y="252"/>
                    </a:lnTo>
                    <a:lnTo>
                      <a:pt x="0" y="256"/>
                    </a:lnTo>
                    <a:lnTo>
                      <a:pt x="2" y="257"/>
                    </a:lnTo>
                    <a:lnTo>
                      <a:pt x="5" y="261"/>
                    </a:lnTo>
                    <a:lnTo>
                      <a:pt x="8" y="261"/>
                    </a:lnTo>
                    <a:lnTo>
                      <a:pt x="275" y="261"/>
                    </a:lnTo>
                    <a:lnTo>
                      <a:pt x="275" y="261"/>
                    </a:lnTo>
                    <a:lnTo>
                      <a:pt x="279" y="261"/>
                    </a:lnTo>
                    <a:lnTo>
                      <a:pt x="280" y="257"/>
                    </a:lnTo>
                    <a:lnTo>
                      <a:pt x="282" y="256"/>
                    </a:lnTo>
                    <a:lnTo>
                      <a:pt x="284" y="252"/>
                    </a:lnTo>
                    <a:lnTo>
                      <a:pt x="284" y="234"/>
                    </a:lnTo>
                    <a:lnTo>
                      <a:pt x="284" y="234"/>
                    </a:lnTo>
                    <a:lnTo>
                      <a:pt x="282" y="221"/>
                    </a:lnTo>
                    <a:lnTo>
                      <a:pt x="275" y="208"/>
                    </a:lnTo>
                    <a:lnTo>
                      <a:pt x="267" y="195"/>
                    </a:lnTo>
                    <a:lnTo>
                      <a:pt x="254" y="186"/>
                    </a:lnTo>
                    <a:lnTo>
                      <a:pt x="240" y="176"/>
                    </a:lnTo>
                    <a:lnTo>
                      <a:pt x="223" y="168"/>
                    </a:lnTo>
                    <a:lnTo>
                      <a:pt x="204" y="161"/>
                    </a:lnTo>
                    <a:lnTo>
                      <a:pt x="184" y="156"/>
                    </a:lnTo>
                    <a:lnTo>
                      <a:pt x="184" y="156"/>
                    </a:lnTo>
                    <a:lnTo>
                      <a:pt x="181" y="155"/>
                    </a:lnTo>
                    <a:lnTo>
                      <a:pt x="178" y="153"/>
                    </a:lnTo>
                    <a:lnTo>
                      <a:pt x="176" y="150"/>
                    </a:lnTo>
                    <a:lnTo>
                      <a:pt x="176" y="148"/>
                    </a:lnTo>
                    <a:lnTo>
                      <a:pt x="176" y="148"/>
                    </a:lnTo>
                    <a:lnTo>
                      <a:pt x="178" y="143"/>
                    </a:lnTo>
                    <a:lnTo>
                      <a:pt x="179" y="142"/>
                    </a:lnTo>
                    <a:lnTo>
                      <a:pt x="179" y="142"/>
                    </a:lnTo>
                    <a:lnTo>
                      <a:pt x="186" y="135"/>
                    </a:lnTo>
                    <a:lnTo>
                      <a:pt x="191" y="128"/>
                    </a:lnTo>
                    <a:lnTo>
                      <a:pt x="196" y="120"/>
                    </a:lnTo>
                    <a:lnTo>
                      <a:pt x="199" y="112"/>
                    </a:lnTo>
                    <a:lnTo>
                      <a:pt x="202" y="94"/>
                    </a:lnTo>
                    <a:lnTo>
                      <a:pt x="204" y="73"/>
                    </a:lnTo>
                    <a:lnTo>
                      <a:pt x="204" y="73"/>
                    </a:lnTo>
                    <a:lnTo>
                      <a:pt x="202" y="58"/>
                    </a:lnTo>
                    <a:lnTo>
                      <a:pt x="199" y="44"/>
                    </a:lnTo>
                    <a:lnTo>
                      <a:pt x="192" y="31"/>
                    </a:lnTo>
                    <a:lnTo>
                      <a:pt x="184" y="21"/>
                    </a:lnTo>
                    <a:lnTo>
                      <a:pt x="176" y="11"/>
                    </a:lnTo>
                    <a:lnTo>
                      <a:pt x="165" y="5"/>
                    </a:lnTo>
                    <a:lnTo>
                      <a:pt x="153" y="1"/>
                    </a:lnTo>
                    <a:lnTo>
                      <a:pt x="142" y="0"/>
                    </a:lnTo>
                    <a:lnTo>
                      <a:pt x="142" y="0"/>
                    </a:lnTo>
                    <a:lnTo>
                      <a:pt x="129" y="1"/>
                    </a:lnTo>
                    <a:lnTo>
                      <a:pt x="117" y="5"/>
                    </a:lnTo>
                    <a:lnTo>
                      <a:pt x="106" y="11"/>
                    </a:lnTo>
                    <a:lnTo>
                      <a:pt x="98" y="21"/>
                    </a:lnTo>
                    <a:lnTo>
                      <a:pt x="90" y="31"/>
                    </a:lnTo>
                    <a:lnTo>
                      <a:pt x="85" y="44"/>
                    </a:lnTo>
                    <a:lnTo>
                      <a:pt x="82" y="58"/>
                    </a:lnTo>
                    <a:lnTo>
                      <a:pt x="80" y="73"/>
                    </a:lnTo>
                    <a:lnTo>
                      <a:pt x="80" y="73"/>
                    </a:lnTo>
                    <a:lnTo>
                      <a:pt x="80" y="94"/>
                    </a:lnTo>
                    <a:lnTo>
                      <a:pt x="85" y="112"/>
                    </a:lnTo>
                    <a:lnTo>
                      <a:pt x="88" y="120"/>
                    </a:lnTo>
                    <a:lnTo>
                      <a:pt x="91" y="128"/>
                    </a:lnTo>
                    <a:lnTo>
                      <a:pt x="96" y="135"/>
                    </a:lnTo>
                    <a:lnTo>
                      <a:pt x="103" y="142"/>
                    </a:lnTo>
                    <a:lnTo>
                      <a:pt x="103" y="142"/>
                    </a:lnTo>
                    <a:lnTo>
                      <a:pt x="106" y="143"/>
                    </a:lnTo>
                    <a:lnTo>
                      <a:pt x="106" y="148"/>
                    </a:lnTo>
                    <a:lnTo>
                      <a:pt x="106" y="148"/>
                    </a:lnTo>
                    <a:lnTo>
                      <a:pt x="106" y="148"/>
                    </a:lnTo>
                    <a:lnTo>
                      <a:pt x="106" y="150"/>
                    </a:lnTo>
                    <a:lnTo>
                      <a:pt x="104" y="153"/>
                    </a:lnTo>
                    <a:lnTo>
                      <a:pt x="103" y="155"/>
                    </a:lnTo>
                    <a:lnTo>
                      <a:pt x="99" y="156"/>
                    </a:lnTo>
                    <a:lnTo>
                      <a:pt x="99" y="156"/>
                    </a:lnTo>
                    <a:lnTo>
                      <a:pt x="78" y="161"/>
                    </a:lnTo>
                    <a:lnTo>
                      <a:pt x="59" y="168"/>
                    </a:lnTo>
                    <a:lnTo>
                      <a:pt x="42" y="176"/>
                    </a:lnTo>
                    <a:lnTo>
                      <a:pt x="28" y="186"/>
                    </a:lnTo>
                    <a:lnTo>
                      <a:pt x="16" y="195"/>
                    </a:lnTo>
                    <a:lnTo>
                      <a:pt x="7" y="208"/>
                    </a:lnTo>
                    <a:lnTo>
                      <a:pt x="2" y="221"/>
                    </a:lnTo>
                    <a:lnTo>
                      <a:pt x="0" y="234"/>
                    </a:lnTo>
                    <a:lnTo>
                      <a:pt x="0" y="2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a:endParaRPr>
              </a:p>
            </p:txBody>
          </p:sp>
          <p:sp>
            <p:nvSpPr>
              <p:cNvPr id="63" name="Freeform 351">
                <a:extLst>
                  <a:ext uri="{FF2B5EF4-FFF2-40B4-BE49-F238E27FC236}">
                    <a16:creationId xmlns:a16="http://schemas.microsoft.com/office/drawing/2014/main" id="{1F7E01BB-FA6F-424A-B8BA-0761B92ACA04}"/>
                  </a:ext>
                </a:extLst>
              </p:cNvPr>
              <p:cNvSpPr>
                <a:spLocks/>
              </p:cNvSpPr>
              <p:nvPr/>
            </p:nvSpPr>
            <p:spPr bwMode="auto">
              <a:xfrm>
                <a:off x="9774729" y="1408760"/>
                <a:ext cx="216350" cy="280670"/>
              </a:xfrm>
              <a:custGeom>
                <a:avLst/>
                <a:gdLst>
                  <a:gd name="T0" fmla="*/ 135 w 148"/>
                  <a:gd name="T1" fmla="*/ 124 h 192"/>
                  <a:gd name="T2" fmla="*/ 138 w 148"/>
                  <a:gd name="T3" fmla="*/ 119 h 192"/>
                  <a:gd name="T4" fmla="*/ 135 w 148"/>
                  <a:gd name="T5" fmla="*/ 116 h 192"/>
                  <a:gd name="T6" fmla="*/ 133 w 148"/>
                  <a:gd name="T7" fmla="*/ 116 h 192"/>
                  <a:gd name="T8" fmla="*/ 130 w 148"/>
                  <a:gd name="T9" fmla="*/ 112 h 192"/>
                  <a:gd name="T10" fmla="*/ 128 w 148"/>
                  <a:gd name="T11" fmla="*/ 109 h 192"/>
                  <a:gd name="T12" fmla="*/ 132 w 148"/>
                  <a:gd name="T13" fmla="*/ 104 h 192"/>
                  <a:gd name="T14" fmla="*/ 137 w 148"/>
                  <a:gd name="T15" fmla="*/ 99 h 192"/>
                  <a:gd name="T16" fmla="*/ 145 w 148"/>
                  <a:gd name="T17" fmla="*/ 83 h 192"/>
                  <a:gd name="T18" fmla="*/ 148 w 148"/>
                  <a:gd name="T19" fmla="*/ 54 h 192"/>
                  <a:gd name="T20" fmla="*/ 148 w 148"/>
                  <a:gd name="T21" fmla="*/ 42 h 192"/>
                  <a:gd name="T22" fmla="*/ 141 w 148"/>
                  <a:gd name="T23" fmla="*/ 23 h 192"/>
                  <a:gd name="T24" fmla="*/ 128 w 148"/>
                  <a:gd name="T25" fmla="*/ 10 h 192"/>
                  <a:gd name="T26" fmla="*/ 112 w 148"/>
                  <a:gd name="T27" fmla="*/ 2 h 192"/>
                  <a:gd name="T28" fmla="*/ 102 w 148"/>
                  <a:gd name="T29" fmla="*/ 0 h 192"/>
                  <a:gd name="T30" fmla="*/ 86 w 148"/>
                  <a:gd name="T31" fmla="*/ 5 h 192"/>
                  <a:gd name="T32" fmla="*/ 71 w 148"/>
                  <a:gd name="T33" fmla="*/ 16 h 192"/>
                  <a:gd name="T34" fmla="*/ 62 w 148"/>
                  <a:gd name="T35" fmla="*/ 33 h 192"/>
                  <a:gd name="T36" fmla="*/ 58 w 148"/>
                  <a:gd name="T37" fmla="*/ 54 h 192"/>
                  <a:gd name="T38" fmla="*/ 58 w 148"/>
                  <a:gd name="T39" fmla="*/ 70 h 192"/>
                  <a:gd name="T40" fmla="*/ 66 w 148"/>
                  <a:gd name="T41" fmla="*/ 94 h 192"/>
                  <a:gd name="T42" fmla="*/ 75 w 148"/>
                  <a:gd name="T43" fmla="*/ 104 h 192"/>
                  <a:gd name="T44" fmla="*/ 76 w 148"/>
                  <a:gd name="T45" fmla="*/ 106 h 192"/>
                  <a:gd name="T46" fmla="*/ 78 w 148"/>
                  <a:gd name="T47" fmla="*/ 109 h 192"/>
                  <a:gd name="T48" fmla="*/ 76 w 148"/>
                  <a:gd name="T49" fmla="*/ 112 h 192"/>
                  <a:gd name="T50" fmla="*/ 73 w 148"/>
                  <a:gd name="T51" fmla="*/ 116 h 192"/>
                  <a:gd name="T52" fmla="*/ 44 w 148"/>
                  <a:gd name="T53" fmla="*/ 124 h 192"/>
                  <a:gd name="T54" fmla="*/ 19 w 148"/>
                  <a:gd name="T55" fmla="*/ 137 h 192"/>
                  <a:gd name="T56" fmla="*/ 5 w 148"/>
                  <a:gd name="T57" fmla="*/ 153 h 192"/>
                  <a:gd name="T58" fmla="*/ 0 w 148"/>
                  <a:gd name="T59" fmla="*/ 173 h 192"/>
                  <a:gd name="T60" fmla="*/ 0 w 148"/>
                  <a:gd name="T61" fmla="*/ 187 h 192"/>
                  <a:gd name="T62" fmla="*/ 5 w 148"/>
                  <a:gd name="T63" fmla="*/ 192 h 192"/>
                  <a:gd name="T64" fmla="*/ 70 w 148"/>
                  <a:gd name="T65" fmla="*/ 192 h 192"/>
                  <a:gd name="T66" fmla="*/ 75 w 148"/>
                  <a:gd name="T67" fmla="*/ 187 h 192"/>
                  <a:gd name="T68" fmla="*/ 78 w 148"/>
                  <a:gd name="T69" fmla="*/ 178 h 192"/>
                  <a:gd name="T70" fmla="*/ 88 w 148"/>
                  <a:gd name="T71" fmla="*/ 160 h 192"/>
                  <a:gd name="T72" fmla="*/ 102 w 148"/>
                  <a:gd name="T73" fmla="*/ 143 h 192"/>
                  <a:gd name="T74" fmla="*/ 124 w 148"/>
                  <a:gd name="T75" fmla="*/ 130 h 192"/>
                  <a:gd name="T76" fmla="*/ 135 w 148"/>
                  <a:gd name="T77" fmla="*/ 12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8" h="192">
                    <a:moveTo>
                      <a:pt x="135" y="124"/>
                    </a:moveTo>
                    <a:lnTo>
                      <a:pt x="135" y="124"/>
                    </a:lnTo>
                    <a:lnTo>
                      <a:pt x="138" y="122"/>
                    </a:lnTo>
                    <a:lnTo>
                      <a:pt x="138" y="119"/>
                    </a:lnTo>
                    <a:lnTo>
                      <a:pt x="137" y="117"/>
                    </a:lnTo>
                    <a:lnTo>
                      <a:pt x="135" y="116"/>
                    </a:lnTo>
                    <a:lnTo>
                      <a:pt x="135" y="116"/>
                    </a:lnTo>
                    <a:lnTo>
                      <a:pt x="133" y="116"/>
                    </a:lnTo>
                    <a:lnTo>
                      <a:pt x="133" y="116"/>
                    </a:lnTo>
                    <a:lnTo>
                      <a:pt x="130" y="112"/>
                    </a:lnTo>
                    <a:lnTo>
                      <a:pt x="128" y="109"/>
                    </a:lnTo>
                    <a:lnTo>
                      <a:pt x="128" y="109"/>
                    </a:lnTo>
                    <a:lnTo>
                      <a:pt x="130" y="106"/>
                    </a:lnTo>
                    <a:lnTo>
                      <a:pt x="132" y="104"/>
                    </a:lnTo>
                    <a:lnTo>
                      <a:pt x="132" y="104"/>
                    </a:lnTo>
                    <a:lnTo>
                      <a:pt x="137" y="99"/>
                    </a:lnTo>
                    <a:lnTo>
                      <a:pt x="140" y="94"/>
                    </a:lnTo>
                    <a:lnTo>
                      <a:pt x="145" y="83"/>
                    </a:lnTo>
                    <a:lnTo>
                      <a:pt x="148" y="70"/>
                    </a:lnTo>
                    <a:lnTo>
                      <a:pt x="148" y="54"/>
                    </a:lnTo>
                    <a:lnTo>
                      <a:pt x="148" y="54"/>
                    </a:lnTo>
                    <a:lnTo>
                      <a:pt x="148" y="42"/>
                    </a:lnTo>
                    <a:lnTo>
                      <a:pt x="145" y="33"/>
                    </a:lnTo>
                    <a:lnTo>
                      <a:pt x="141" y="23"/>
                    </a:lnTo>
                    <a:lnTo>
                      <a:pt x="135" y="16"/>
                    </a:lnTo>
                    <a:lnTo>
                      <a:pt x="128" y="10"/>
                    </a:lnTo>
                    <a:lnTo>
                      <a:pt x="120" y="5"/>
                    </a:lnTo>
                    <a:lnTo>
                      <a:pt x="112" y="2"/>
                    </a:lnTo>
                    <a:lnTo>
                      <a:pt x="102" y="0"/>
                    </a:lnTo>
                    <a:lnTo>
                      <a:pt x="102" y="0"/>
                    </a:lnTo>
                    <a:lnTo>
                      <a:pt x="94" y="2"/>
                    </a:lnTo>
                    <a:lnTo>
                      <a:pt x="86" y="5"/>
                    </a:lnTo>
                    <a:lnTo>
                      <a:pt x="78" y="10"/>
                    </a:lnTo>
                    <a:lnTo>
                      <a:pt x="71" y="16"/>
                    </a:lnTo>
                    <a:lnTo>
                      <a:pt x="65" y="23"/>
                    </a:lnTo>
                    <a:lnTo>
                      <a:pt x="62" y="33"/>
                    </a:lnTo>
                    <a:lnTo>
                      <a:pt x="58" y="42"/>
                    </a:lnTo>
                    <a:lnTo>
                      <a:pt x="58" y="54"/>
                    </a:lnTo>
                    <a:lnTo>
                      <a:pt x="58" y="54"/>
                    </a:lnTo>
                    <a:lnTo>
                      <a:pt x="58" y="70"/>
                    </a:lnTo>
                    <a:lnTo>
                      <a:pt x="62" y="83"/>
                    </a:lnTo>
                    <a:lnTo>
                      <a:pt x="66" y="94"/>
                    </a:lnTo>
                    <a:lnTo>
                      <a:pt x="70" y="99"/>
                    </a:lnTo>
                    <a:lnTo>
                      <a:pt x="75" y="104"/>
                    </a:lnTo>
                    <a:lnTo>
                      <a:pt x="75" y="104"/>
                    </a:lnTo>
                    <a:lnTo>
                      <a:pt x="76" y="106"/>
                    </a:lnTo>
                    <a:lnTo>
                      <a:pt x="78" y="109"/>
                    </a:lnTo>
                    <a:lnTo>
                      <a:pt x="78" y="109"/>
                    </a:lnTo>
                    <a:lnTo>
                      <a:pt x="78" y="109"/>
                    </a:lnTo>
                    <a:lnTo>
                      <a:pt x="76" y="112"/>
                    </a:lnTo>
                    <a:lnTo>
                      <a:pt x="73" y="116"/>
                    </a:lnTo>
                    <a:lnTo>
                      <a:pt x="73" y="116"/>
                    </a:lnTo>
                    <a:lnTo>
                      <a:pt x="57" y="119"/>
                    </a:lnTo>
                    <a:lnTo>
                      <a:pt x="44" y="124"/>
                    </a:lnTo>
                    <a:lnTo>
                      <a:pt x="31" y="129"/>
                    </a:lnTo>
                    <a:lnTo>
                      <a:pt x="19" y="137"/>
                    </a:lnTo>
                    <a:lnTo>
                      <a:pt x="11" y="145"/>
                    </a:lnTo>
                    <a:lnTo>
                      <a:pt x="5" y="153"/>
                    </a:lnTo>
                    <a:lnTo>
                      <a:pt x="1" y="163"/>
                    </a:lnTo>
                    <a:lnTo>
                      <a:pt x="0" y="173"/>
                    </a:lnTo>
                    <a:lnTo>
                      <a:pt x="0" y="187"/>
                    </a:lnTo>
                    <a:lnTo>
                      <a:pt x="0" y="187"/>
                    </a:lnTo>
                    <a:lnTo>
                      <a:pt x="1" y="191"/>
                    </a:lnTo>
                    <a:lnTo>
                      <a:pt x="5" y="192"/>
                    </a:lnTo>
                    <a:lnTo>
                      <a:pt x="70" y="192"/>
                    </a:lnTo>
                    <a:lnTo>
                      <a:pt x="70" y="192"/>
                    </a:lnTo>
                    <a:lnTo>
                      <a:pt x="73" y="191"/>
                    </a:lnTo>
                    <a:lnTo>
                      <a:pt x="75" y="187"/>
                    </a:lnTo>
                    <a:lnTo>
                      <a:pt x="75" y="187"/>
                    </a:lnTo>
                    <a:lnTo>
                      <a:pt x="78" y="178"/>
                    </a:lnTo>
                    <a:lnTo>
                      <a:pt x="81" y="169"/>
                    </a:lnTo>
                    <a:lnTo>
                      <a:pt x="88" y="160"/>
                    </a:lnTo>
                    <a:lnTo>
                      <a:pt x="94" y="152"/>
                    </a:lnTo>
                    <a:lnTo>
                      <a:pt x="102" y="143"/>
                    </a:lnTo>
                    <a:lnTo>
                      <a:pt x="112" y="137"/>
                    </a:lnTo>
                    <a:lnTo>
                      <a:pt x="124" y="130"/>
                    </a:lnTo>
                    <a:lnTo>
                      <a:pt x="135" y="124"/>
                    </a:lnTo>
                    <a:lnTo>
                      <a:pt x="135" y="1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a:endParaRPr>
              </a:p>
            </p:txBody>
          </p:sp>
          <p:sp>
            <p:nvSpPr>
              <p:cNvPr id="64" name="Freeform 352">
                <a:extLst>
                  <a:ext uri="{FF2B5EF4-FFF2-40B4-BE49-F238E27FC236}">
                    <a16:creationId xmlns:a16="http://schemas.microsoft.com/office/drawing/2014/main" id="{91594290-F712-47A0-BC6D-8ED417C73A93}"/>
                  </a:ext>
                </a:extLst>
              </p:cNvPr>
              <p:cNvSpPr>
                <a:spLocks/>
              </p:cNvSpPr>
              <p:nvPr/>
            </p:nvSpPr>
            <p:spPr bwMode="auto">
              <a:xfrm>
                <a:off x="10222047" y="1408760"/>
                <a:ext cx="219273" cy="280670"/>
              </a:xfrm>
              <a:custGeom>
                <a:avLst/>
                <a:gdLst>
                  <a:gd name="T0" fmla="*/ 77 w 150"/>
                  <a:gd name="T1" fmla="*/ 116 h 192"/>
                  <a:gd name="T2" fmla="*/ 72 w 150"/>
                  <a:gd name="T3" fmla="*/ 109 h 192"/>
                  <a:gd name="T4" fmla="*/ 72 w 150"/>
                  <a:gd name="T5" fmla="*/ 106 h 192"/>
                  <a:gd name="T6" fmla="*/ 73 w 150"/>
                  <a:gd name="T7" fmla="*/ 104 h 192"/>
                  <a:gd name="T8" fmla="*/ 82 w 150"/>
                  <a:gd name="T9" fmla="*/ 94 h 192"/>
                  <a:gd name="T10" fmla="*/ 90 w 150"/>
                  <a:gd name="T11" fmla="*/ 70 h 192"/>
                  <a:gd name="T12" fmla="*/ 91 w 150"/>
                  <a:gd name="T13" fmla="*/ 54 h 192"/>
                  <a:gd name="T14" fmla="*/ 86 w 150"/>
                  <a:gd name="T15" fmla="*/ 33 h 192"/>
                  <a:gd name="T16" fmla="*/ 77 w 150"/>
                  <a:gd name="T17" fmla="*/ 16 h 192"/>
                  <a:gd name="T18" fmla="*/ 64 w 150"/>
                  <a:gd name="T19" fmla="*/ 5 h 192"/>
                  <a:gd name="T20" fmla="*/ 46 w 150"/>
                  <a:gd name="T21" fmla="*/ 0 h 192"/>
                  <a:gd name="T22" fmla="*/ 36 w 150"/>
                  <a:gd name="T23" fmla="*/ 2 h 192"/>
                  <a:gd name="T24" fmla="*/ 20 w 150"/>
                  <a:gd name="T25" fmla="*/ 10 h 192"/>
                  <a:gd name="T26" fmla="*/ 8 w 150"/>
                  <a:gd name="T27" fmla="*/ 23 h 192"/>
                  <a:gd name="T28" fmla="*/ 2 w 150"/>
                  <a:gd name="T29" fmla="*/ 42 h 192"/>
                  <a:gd name="T30" fmla="*/ 0 w 150"/>
                  <a:gd name="T31" fmla="*/ 54 h 192"/>
                  <a:gd name="T32" fmla="*/ 3 w 150"/>
                  <a:gd name="T33" fmla="*/ 83 h 192"/>
                  <a:gd name="T34" fmla="*/ 13 w 150"/>
                  <a:gd name="T35" fmla="*/ 99 h 192"/>
                  <a:gd name="T36" fmla="*/ 18 w 150"/>
                  <a:gd name="T37" fmla="*/ 104 h 192"/>
                  <a:gd name="T38" fmla="*/ 20 w 150"/>
                  <a:gd name="T39" fmla="*/ 109 h 192"/>
                  <a:gd name="T40" fmla="*/ 20 w 150"/>
                  <a:gd name="T41" fmla="*/ 109 h 192"/>
                  <a:gd name="T42" fmla="*/ 15 w 150"/>
                  <a:gd name="T43" fmla="*/ 116 h 192"/>
                  <a:gd name="T44" fmla="*/ 15 w 150"/>
                  <a:gd name="T45" fmla="*/ 116 h 192"/>
                  <a:gd name="T46" fmla="*/ 11 w 150"/>
                  <a:gd name="T47" fmla="*/ 117 h 192"/>
                  <a:gd name="T48" fmla="*/ 11 w 150"/>
                  <a:gd name="T49" fmla="*/ 122 h 192"/>
                  <a:gd name="T50" fmla="*/ 13 w 150"/>
                  <a:gd name="T51" fmla="*/ 124 h 192"/>
                  <a:gd name="T52" fmla="*/ 36 w 150"/>
                  <a:gd name="T53" fmla="*/ 137 h 192"/>
                  <a:gd name="T54" fmla="*/ 54 w 150"/>
                  <a:gd name="T55" fmla="*/ 152 h 192"/>
                  <a:gd name="T56" fmla="*/ 67 w 150"/>
                  <a:gd name="T57" fmla="*/ 169 h 192"/>
                  <a:gd name="T58" fmla="*/ 73 w 150"/>
                  <a:gd name="T59" fmla="*/ 187 h 192"/>
                  <a:gd name="T60" fmla="*/ 75 w 150"/>
                  <a:gd name="T61" fmla="*/ 191 h 192"/>
                  <a:gd name="T62" fmla="*/ 145 w 150"/>
                  <a:gd name="T63" fmla="*/ 192 h 192"/>
                  <a:gd name="T64" fmla="*/ 148 w 150"/>
                  <a:gd name="T65" fmla="*/ 191 h 192"/>
                  <a:gd name="T66" fmla="*/ 150 w 150"/>
                  <a:gd name="T67" fmla="*/ 173 h 192"/>
                  <a:gd name="T68" fmla="*/ 148 w 150"/>
                  <a:gd name="T69" fmla="*/ 163 h 192"/>
                  <a:gd name="T70" fmla="*/ 137 w 150"/>
                  <a:gd name="T71" fmla="*/ 145 h 192"/>
                  <a:gd name="T72" fmla="*/ 117 w 150"/>
                  <a:gd name="T73" fmla="*/ 129 h 192"/>
                  <a:gd name="T74" fmla="*/ 91 w 150"/>
                  <a:gd name="T75" fmla="*/ 119 h 192"/>
                  <a:gd name="T76" fmla="*/ 77 w 150"/>
                  <a:gd name="T77" fmla="*/ 116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0" h="192">
                    <a:moveTo>
                      <a:pt x="77" y="116"/>
                    </a:moveTo>
                    <a:lnTo>
                      <a:pt x="77" y="116"/>
                    </a:lnTo>
                    <a:lnTo>
                      <a:pt x="72" y="112"/>
                    </a:lnTo>
                    <a:lnTo>
                      <a:pt x="72" y="109"/>
                    </a:lnTo>
                    <a:lnTo>
                      <a:pt x="72" y="109"/>
                    </a:lnTo>
                    <a:lnTo>
                      <a:pt x="72" y="106"/>
                    </a:lnTo>
                    <a:lnTo>
                      <a:pt x="73" y="104"/>
                    </a:lnTo>
                    <a:lnTo>
                      <a:pt x="73" y="104"/>
                    </a:lnTo>
                    <a:lnTo>
                      <a:pt x="78" y="99"/>
                    </a:lnTo>
                    <a:lnTo>
                      <a:pt x="82" y="94"/>
                    </a:lnTo>
                    <a:lnTo>
                      <a:pt x="86" y="83"/>
                    </a:lnTo>
                    <a:lnTo>
                      <a:pt x="90" y="70"/>
                    </a:lnTo>
                    <a:lnTo>
                      <a:pt x="91" y="54"/>
                    </a:lnTo>
                    <a:lnTo>
                      <a:pt x="91" y="54"/>
                    </a:lnTo>
                    <a:lnTo>
                      <a:pt x="90" y="42"/>
                    </a:lnTo>
                    <a:lnTo>
                      <a:pt x="86" y="33"/>
                    </a:lnTo>
                    <a:lnTo>
                      <a:pt x="83" y="23"/>
                    </a:lnTo>
                    <a:lnTo>
                      <a:pt x="77" y="16"/>
                    </a:lnTo>
                    <a:lnTo>
                      <a:pt x="70" y="10"/>
                    </a:lnTo>
                    <a:lnTo>
                      <a:pt x="64" y="5"/>
                    </a:lnTo>
                    <a:lnTo>
                      <a:pt x="54" y="2"/>
                    </a:lnTo>
                    <a:lnTo>
                      <a:pt x="46" y="0"/>
                    </a:lnTo>
                    <a:lnTo>
                      <a:pt x="46" y="0"/>
                    </a:lnTo>
                    <a:lnTo>
                      <a:pt x="36" y="2"/>
                    </a:lnTo>
                    <a:lnTo>
                      <a:pt x="28" y="5"/>
                    </a:lnTo>
                    <a:lnTo>
                      <a:pt x="20" y="10"/>
                    </a:lnTo>
                    <a:lnTo>
                      <a:pt x="13" y="16"/>
                    </a:lnTo>
                    <a:lnTo>
                      <a:pt x="8" y="23"/>
                    </a:lnTo>
                    <a:lnTo>
                      <a:pt x="3" y="33"/>
                    </a:lnTo>
                    <a:lnTo>
                      <a:pt x="2" y="42"/>
                    </a:lnTo>
                    <a:lnTo>
                      <a:pt x="0" y="54"/>
                    </a:lnTo>
                    <a:lnTo>
                      <a:pt x="0" y="54"/>
                    </a:lnTo>
                    <a:lnTo>
                      <a:pt x="2" y="70"/>
                    </a:lnTo>
                    <a:lnTo>
                      <a:pt x="3" y="83"/>
                    </a:lnTo>
                    <a:lnTo>
                      <a:pt x="8" y="94"/>
                    </a:lnTo>
                    <a:lnTo>
                      <a:pt x="13" y="99"/>
                    </a:lnTo>
                    <a:lnTo>
                      <a:pt x="18" y="104"/>
                    </a:lnTo>
                    <a:lnTo>
                      <a:pt x="18" y="104"/>
                    </a:lnTo>
                    <a:lnTo>
                      <a:pt x="20" y="106"/>
                    </a:lnTo>
                    <a:lnTo>
                      <a:pt x="20" y="109"/>
                    </a:lnTo>
                    <a:lnTo>
                      <a:pt x="20" y="109"/>
                    </a:lnTo>
                    <a:lnTo>
                      <a:pt x="20" y="109"/>
                    </a:lnTo>
                    <a:lnTo>
                      <a:pt x="18" y="112"/>
                    </a:lnTo>
                    <a:lnTo>
                      <a:pt x="15" y="116"/>
                    </a:lnTo>
                    <a:lnTo>
                      <a:pt x="15" y="116"/>
                    </a:lnTo>
                    <a:lnTo>
                      <a:pt x="15" y="116"/>
                    </a:lnTo>
                    <a:lnTo>
                      <a:pt x="15" y="116"/>
                    </a:lnTo>
                    <a:lnTo>
                      <a:pt x="11" y="117"/>
                    </a:lnTo>
                    <a:lnTo>
                      <a:pt x="10" y="119"/>
                    </a:lnTo>
                    <a:lnTo>
                      <a:pt x="11" y="122"/>
                    </a:lnTo>
                    <a:lnTo>
                      <a:pt x="13" y="124"/>
                    </a:lnTo>
                    <a:lnTo>
                      <a:pt x="13" y="124"/>
                    </a:lnTo>
                    <a:lnTo>
                      <a:pt x="25" y="130"/>
                    </a:lnTo>
                    <a:lnTo>
                      <a:pt x="36" y="137"/>
                    </a:lnTo>
                    <a:lnTo>
                      <a:pt x="46" y="143"/>
                    </a:lnTo>
                    <a:lnTo>
                      <a:pt x="54" y="152"/>
                    </a:lnTo>
                    <a:lnTo>
                      <a:pt x="60" y="160"/>
                    </a:lnTo>
                    <a:lnTo>
                      <a:pt x="67" y="169"/>
                    </a:lnTo>
                    <a:lnTo>
                      <a:pt x="72" y="178"/>
                    </a:lnTo>
                    <a:lnTo>
                      <a:pt x="73" y="187"/>
                    </a:lnTo>
                    <a:lnTo>
                      <a:pt x="73" y="187"/>
                    </a:lnTo>
                    <a:lnTo>
                      <a:pt x="75" y="191"/>
                    </a:lnTo>
                    <a:lnTo>
                      <a:pt x="78" y="192"/>
                    </a:lnTo>
                    <a:lnTo>
                      <a:pt x="145" y="192"/>
                    </a:lnTo>
                    <a:lnTo>
                      <a:pt x="145" y="192"/>
                    </a:lnTo>
                    <a:lnTo>
                      <a:pt x="148" y="191"/>
                    </a:lnTo>
                    <a:lnTo>
                      <a:pt x="150" y="187"/>
                    </a:lnTo>
                    <a:lnTo>
                      <a:pt x="150" y="173"/>
                    </a:lnTo>
                    <a:lnTo>
                      <a:pt x="150" y="173"/>
                    </a:lnTo>
                    <a:lnTo>
                      <a:pt x="148" y="163"/>
                    </a:lnTo>
                    <a:lnTo>
                      <a:pt x="143" y="153"/>
                    </a:lnTo>
                    <a:lnTo>
                      <a:pt x="137" y="145"/>
                    </a:lnTo>
                    <a:lnTo>
                      <a:pt x="129" y="137"/>
                    </a:lnTo>
                    <a:lnTo>
                      <a:pt x="117" y="129"/>
                    </a:lnTo>
                    <a:lnTo>
                      <a:pt x="106" y="124"/>
                    </a:lnTo>
                    <a:lnTo>
                      <a:pt x="91" y="119"/>
                    </a:lnTo>
                    <a:lnTo>
                      <a:pt x="77" y="116"/>
                    </a:lnTo>
                    <a:lnTo>
                      <a:pt x="77" y="1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a:endParaRPr>
              </a:p>
            </p:txBody>
          </p:sp>
        </p:grpSp>
      </p:grpSp>
      <p:sp>
        <p:nvSpPr>
          <p:cNvPr id="65" name="Title 1">
            <a:extLst>
              <a:ext uri="{FF2B5EF4-FFF2-40B4-BE49-F238E27FC236}">
                <a16:creationId xmlns:a16="http://schemas.microsoft.com/office/drawing/2014/main" id="{29DE9741-C125-4DE1-96F7-29CA98A383CB}"/>
              </a:ext>
            </a:extLst>
          </p:cNvPr>
          <p:cNvSpPr txBox="1">
            <a:spLocks/>
          </p:cNvSpPr>
          <p:nvPr/>
        </p:nvSpPr>
        <p:spPr>
          <a:xfrm>
            <a:off x="126401" y="217292"/>
            <a:ext cx="11219600" cy="401597"/>
          </a:xfrm>
          <a:prstGeom prst="rect">
            <a:avLst/>
          </a:prstGeom>
        </p:spPr>
        <p:txBody>
          <a:bodyPr/>
          <a:lstStyle>
            <a:lvl1pPr algn="l" defTabSz="913526" rtl="0" fontAlgn="base">
              <a:spcBef>
                <a:spcPct val="0"/>
              </a:spcBef>
              <a:spcAft>
                <a:spcPct val="0"/>
              </a:spcAft>
              <a:defRPr sz="2041" b="1">
                <a:solidFill>
                  <a:schemeClr val="tx2"/>
                </a:solidFill>
                <a:latin typeface="+mn-lt"/>
                <a:ea typeface="+mj-ea"/>
                <a:cs typeface="+mj-cs"/>
              </a:defRPr>
            </a:lvl1pPr>
            <a:lvl2pPr algn="l" defTabSz="913526" rtl="0" fontAlgn="base">
              <a:spcBef>
                <a:spcPct val="0"/>
              </a:spcBef>
              <a:spcAft>
                <a:spcPct val="0"/>
              </a:spcAft>
              <a:defRPr sz="1939" b="1">
                <a:solidFill>
                  <a:schemeClr val="tx2"/>
                </a:solidFill>
                <a:latin typeface="Arial" charset="0"/>
              </a:defRPr>
            </a:lvl2pPr>
            <a:lvl3pPr algn="l" defTabSz="913526" rtl="0" fontAlgn="base">
              <a:spcBef>
                <a:spcPct val="0"/>
              </a:spcBef>
              <a:spcAft>
                <a:spcPct val="0"/>
              </a:spcAft>
              <a:defRPr sz="1939" b="1">
                <a:solidFill>
                  <a:schemeClr val="tx2"/>
                </a:solidFill>
                <a:latin typeface="Arial" charset="0"/>
              </a:defRPr>
            </a:lvl3pPr>
            <a:lvl4pPr algn="l" defTabSz="913526" rtl="0" fontAlgn="base">
              <a:spcBef>
                <a:spcPct val="0"/>
              </a:spcBef>
              <a:spcAft>
                <a:spcPct val="0"/>
              </a:spcAft>
              <a:defRPr sz="1939" b="1">
                <a:solidFill>
                  <a:schemeClr val="tx2"/>
                </a:solidFill>
                <a:latin typeface="Arial" charset="0"/>
              </a:defRPr>
            </a:lvl4pPr>
            <a:lvl5pPr algn="l" defTabSz="913526" rtl="0" fontAlgn="base">
              <a:spcBef>
                <a:spcPct val="0"/>
              </a:spcBef>
              <a:spcAft>
                <a:spcPct val="0"/>
              </a:spcAft>
              <a:defRPr sz="1939" b="1">
                <a:solidFill>
                  <a:schemeClr val="tx2"/>
                </a:solidFill>
                <a:latin typeface="Arial" charset="0"/>
              </a:defRPr>
            </a:lvl5pPr>
            <a:lvl6pPr marL="466481" algn="l" defTabSz="913526" rtl="0" fontAlgn="base">
              <a:spcBef>
                <a:spcPct val="0"/>
              </a:spcBef>
              <a:spcAft>
                <a:spcPct val="0"/>
              </a:spcAft>
              <a:defRPr sz="1939" b="1">
                <a:solidFill>
                  <a:schemeClr val="tx2"/>
                </a:solidFill>
                <a:latin typeface="Arial" charset="0"/>
              </a:defRPr>
            </a:lvl6pPr>
            <a:lvl7pPr marL="932962" algn="l" defTabSz="913526" rtl="0" fontAlgn="base">
              <a:spcBef>
                <a:spcPct val="0"/>
              </a:spcBef>
              <a:spcAft>
                <a:spcPct val="0"/>
              </a:spcAft>
              <a:defRPr sz="1939" b="1">
                <a:solidFill>
                  <a:schemeClr val="tx2"/>
                </a:solidFill>
                <a:latin typeface="Arial" charset="0"/>
              </a:defRPr>
            </a:lvl7pPr>
            <a:lvl8pPr marL="1399443" algn="l" defTabSz="913526" rtl="0" fontAlgn="base">
              <a:spcBef>
                <a:spcPct val="0"/>
              </a:spcBef>
              <a:spcAft>
                <a:spcPct val="0"/>
              </a:spcAft>
              <a:defRPr sz="1939" b="1">
                <a:solidFill>
                  <a:schemeClr val="tx2"/>
                </a:solidFill>
                <a:latin typeface="Arial" charset="0"/>
              </a:defRPr>
            </a:lvl8pPr>
            <a:lvl9pPr marL="1865925" algn="l" defTabSz="913526" rtl="0" fontAlgn="base">
              <a:spcBef>
                <a:spcPct val="0"/>
              </a:spcBef>
              <a:spcAft>
                <a:spcPct val="0"/>
              </a:spcAft>
              <a:defRPr sz="1939" b="1">
                <a:solidFill>
                  <a:schemeClr val="tx2"/>
                </a:solidFill>
                <a:latin typeface="Arial" charset="0"/>
              </a:defRPr>
            </a:lvl9pPr>
          </a:lstStyle>
          <a:p>
            <a:endParaRPr lang="en-US" kern="0" dirty="0"/>
          </a:p>
        </p:txBody>
      </p:sp>
      <p:sp>
        <p:nvSpPr>
          <p:cNvPr id="2" name="TextBox 1">
            <a:extLst>
              <a:ext uri="{FF2B5EF4-FFF2-40B4-BE49-F238E27FC236}">
                <a16:creationId xmlns:a16="http://schemas.microsoft.com/office/drawing/2014/main" id="{7E9864D5-B0AF-C12B-4268-8C362F93B2EA}"/>
              </a:ext>
            </a:extLst>
          </p:cNvPr>
          <p:cNvSpPr txBox="1"/>
          <p:nvPr/>
        </p:nvSpPr>
        <p:spPr>
          <a:xfrm>
            <a:off x="7550426" y="5385647"/>
            <a:ext cx="3505319" cy="646331"/>
          </a:xfrm>
          <a:prstGeom prst="rect">
            <a:avLst/>
          </a:prstGeom>
          <a:noFill/>
        </p:spPr>
        <p:txBody>
          <a:bodyPr wrap="none" rtlCol="0">
            <a:spAutoFit/>
          </a:bodyPr>
          <a:lstStyle/>
          <a:p>
            <a:r>
              <a:rPr lang="en-US" dirty="0">
                <a:hlinkClick r:id="rId3"/>
              </a:rPr>
              <a:t>Aligned DG Roles by Domain</a:t>
            </a:r>
            <a:endParaRPr lang="en-US" dirty="0">
              <a:hlinkClick r:id="rId4"/>
            </a:endParaRPr>
          </a:p>
          <a:p>
            <a:r>
              <a:rPr lang="en-US" dirty="0">
                <a:hlinkClick r:id="rId4"/>
              </a:rPr>
              <a:t>Aligned Data Architects by Domain</a:t>
            </a:r>
            <a:endParaRPr lang="en-US" dirty="0"/>
          </a:p>
        </p:txBody>
      </p:sp>
      <p:sp>
        <p:nvSpPr>
          <p:cNvPr id="66" name="Title 65">
            <a:extLst>
              <a:ext uri="{FF2B5EF4-FFF2-40B4-BE49-F238E27FC236}">
                <a16:creationId xmlns:a16="http://schemas.microsoft.com/office/drawing/2014/main" id="{1E7082E7-0182-F059-E529-C809C5880377}"/>
              </a:ext>
            </a:extLst>
          </p:cNvPr>
          <p:cNvSpPr>
            <a:spLocks noGrp="1"/>
          </p:cNvSpPr>
          <p:nvPr>
            <p:ph type="title"/>
          </p:nvPr>
        </p:nvSpPr>
        <p:spPr/>
        <p:txBody>
          <a:bodyPr/>
          <a:lstStyle/>
          <a:p>
            <a:r>
              <a:rPr lang="en-US" dirty="0"/>
              <a:t>DG Organizational Structure</a:t>
            </a:r>
          </a:p>
        </p:txBody>
      </p:sp>
      <p:pic>
        <p:nvPicPr>
          <p:cNvPr id="68" name="Picture 67">
            <a:extLst>
              <a:ext uri="{FF2B5EF4-FFF2-40B4-BE49-F238E27FC236}">
                <a16:creationId xmlns:a16="http://schemas.microsoft.com/office/drawing/2014/main" id="{BD282502-7B67-486C-11B8-CFAC57C110AC}"/>
              </a:ext>
            </a:extLst>
          </p:cNvPr>
          <p:cNvPicPr>
            <a:picLocks noChangeAspect="1"/>
          </p:cNvPicPr>
          <p:nvPr/>
        </p:nvPicPr>
        <p:blipFill>
          <a:blip r:embed="rId5"/>
          <a:stretch>
            <a:fillRect/>
          </a:stretch>
        </p:blipFill>
        <p:spPr>
          <a:xfrm>
            <a:off x="6729147" y="2011577"/>
            <a:ext cx="5464456" cy="3096163"/>
          </a:xfrm>
          <a:prstGeom prst="rect">
            <a:avLst/>
          </a:prstGeom>
        </p:spPr>
      </p:pic>
    </p:spTree>
    <p:extLst>
      <p:ext uri="{BB962C8B-B14F-4D97-AF65-F5344CB8AC3E}">
        <p14:creationId xmlns:p14="http://schemas.microsoft.com/office/powerpoint/2010/main" val="37027194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jgvQXeMG63euPsLzPD46gA"/>
</p:tagLst>
</file>

<file path=ppt/tags/tag3.xml><?xml version="1.0" encoding="utf-8"?>
<p:tagLst xmlns:a="http://schemas.openxmlformats.org/drawingml/2006/main" xmlns:r="http://schemas.openxmlformats.org/officeDocument/2006/relationships" xmlns:p="http://schemas.openxmlformats.org/presentationml/2006/main">
  <p:tag name="RESIZE" val="Yes"/>
</p:tagLst>
</file>

<file path=ppt/theme/theme1.xml><?xml version="1.0" encoding="utf-8"?>
<a:theme xmlns:a="http://schemas.openxmlformats.org/drawingml/2006/main" name="DAT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ATE" id="{0E11AB7A-32C6-44F4-A85B-5A7516608748}" vid="{3ACA567B-CC2D-4E7B-9CE5-BD9F25601C7D}"/>
    </a:ext>
  </a:extLst>
</a:theme>
</file>

<file path=ppt/theme/theme2.xml><?xml version="1.0" encoding="utf-8"?>
<a:theme xmlns:a="http://schemas.openxmlformats.org/drawingml/2006/main" name="DATE 01 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DATE 01 B">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DATE 01 C">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DATE 01 D">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DATE 01 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1_DATE 01 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2.xml><?xml version="1.0" encoding="utf-8"?>
<ct:contentTypeSchema xmlns:ct="http://schemas.microsoft.com/office/2006/metadata/contentType" xmlns:ma="http://schemas.microsoft.com/office/2006/metadata/properties/metaAttributes" ct:_="" ma:_="" ma:contentTypeName="Document" ma:contentTypeID="0x01010028F7D20788402B46B9D0CEE17BFB9DE5" ma:contentTypeVersion="21" ma:contentTypeDescription="Create a new document." ma:contentTypeScope="" ma:versionID="8401c3181b8212174d145329739e90bc">
  <xsd:schema xmlns:xsd="http://www.w3.org/2001/XMLSchema" xmlns:xs="http://www.w3.org/2001/XMLSchema" xmlns:p="http://schemas.microsoft.com/office/2006/metadata/properties" xmlns:ns2="597527f5-7231-4e5f-955e-d9ad4be032a0" xmlns:ns3="142048d3-a7d4-450a-8cec-b074bda293ba" targetNamespace="http://schemas.microsoft.com/office/2006/metadata/properties" ma:root="true" ma:fieldsID="52a857a0f1285b63dfc51f42f4d3f95e" ns2:_="" ns3:_="">
    <xsd:import namespace="597527f5-7231-4e5f-955e-d9ad4be032a0"/>
    <xsd:import namespace="142048d3-a7d4-450a-8cec-b074bda293ba"/>
    <xsd:element name="properties">
      <xsd:complexType>
        <xsd:sequence>
          <xsd:element name="documentManagement">
            <xsd:complexType>
              <xsd:all>
                <xsd:element ref="ns2:SharedWithUsers" minOccurs="0"/>
                <xsd:element ref="ns2:SharedWithDetails" minOccurs="0"/>
                <xsd:element ref="ns3:MediaServiceAutoTags" minOccurs="0"/>
                <xsd:element ref="ns3:MediaServiceGenerationTime" minOccurs="0"/>
                <xsd:element ref="ns3:MediaServiceEventHashCode" minOccurs="0"/>
                <xsd:element ref="ns3:MediaServiceOCR" minOccurs="0"/>
                <xsd:element ref="ns2:_dlc_DocId" minOccurs="0"/>
                <xsd:element ref="ns2:_dlc_DocIdUrl" minOccurs="0"/>
                <xsd:element ref="ns2:_dlc_DocIdPersist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97527f5-7231-4e5f-955e-d9ad4be032a0"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_dlc_DocId" ma:index="14" nillable="true" ma:displayName="Document ID Value" ma:description="The value of the document ID assigned to this item." ma:internalName="_dlc_DocId" ma:readOnly="true">
      <xsd:simpleType>
        <xsd:restriction base="dms:Text"/>
      </xsd:simpleType>
    </xsd:element>
    <xsd:element name="_dlc_DocIdUrl" ma:index="15"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6" nillable="true" ma:displayName="Persist ID" ma:description="Keep ID on add." ma:hidden="true" ma:internalName="_dlc_DocIdPersistId" ma:readOnly="tru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142048d3-a7d4-450a-8cec-b074bda293ba" elementFormDefault="qualified">
    <xsd:import namespace="http://schemas.microsoft.com/office/2006/documentManagement/types"/>
    <xsd:import namespace="http://schemas.microsoft.com/office/infopath/2007/PartnerControls"/>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dlc_DocId xmlns="597527f5-7231-4e5f-955e-d9ad4be032a0">CY7WUNDCHPAT-1872479028-646</_dlc_DocId>
    <_dlc_DocIdUrl xmlns="597527f5-7231-4e5f-955e-d9ad4be032a0">
      <Url>https://progressiveinsurance.sharepoint.com/sites/Enterprise Data Governance/_layouts/15/DocIdRedir.aspx?ID=CY7WUNDCHPAT-1872479028-646</Url>
      <Description>CY7WUNDCHPAT-1872479028-646</Description>
    </_dlc_DocIdUrl>
  </documentManagement>
</p:properties>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B45216A-514A-4279-9017-09B2BFB92D1A}">
  <ds:schemaRefs>
    <ds:schemaRef ds:uri="http://schemas.microsoft.com/sharepoint/events"/>
  </ds:schemaRefs>
</ds:datastoreItem>
</file>

<file path=customXml/itemProps2.xml><?xml version="1.0" encoding="utf-8"?>
<ds:datastoreItem xmlns:ds="http://schemas.openxmlformats.org/officeDocument/2006/customXml" ds:itemID="{226F11D8-10C9-421C-95D7-2BD5E32B1B9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97527f5-7231-4e5f-955e-d9ad4be032a0"/>
    <ds:schemaRef ds:uri="142048d3-a7d4-450a-8cec-b074bda293b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DBAE825-8678-4F48-A183-25A483BC180A}">
  <ds:schemaRefs>
    <ds:schemaRef ds:uri="http://schemas.microsoft.com/office/2006/metadata/properties"/>
    <ds:schemaRef ds:uri="http://schemas.microsoft.com/office/infopath/2007/PartnerControls"/>
    <ds:schemaRef ds:uri="597527f5-7231-4e5f-955e-d9ad4be032a0"/>
  </ds:schemaRefs>
</ds:datastoreItem>
</file>

<file path=customXml/itemProps4.xml><?xml version="1.0" encoding="utf-8"?>
<ds:datastoreItem xmlns:ds="http://schemas.openxmlformats.org/officeDocument/2006/customXml" ds:itemID="{75C37357-C8FA-482C-B414-9D87519E2FD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7591</TotalTime>
  <Words>4333</Words>
  <Application>Microsoft Office PowerPoint</Application>
  <PresentationFormat>Widescreen</PresentationFormat>
  <Paragraphs>432</Paragraphs>
  <Slides>22</Slides>
  <Notes>16</Notes>
  <HiddenSlides>0</HiddenSlides>
  <MMClips>0</MMClips>
  <ScaleCrop>false</ScaleCrop>
  <HeadingPairs>
    <vt:vector size="8" baseType="variant">
      <vt:variant>
        <vt:lpstr>Fonts Used</vt:lpstr>
      </vt:variant>
      <vt:variant>
        <vt:i4>15</vt:i4>
      </vt:variant>
      <vt:variant>
        <vt:lpstr>Theme</vt:lpstr>
      </vt:variant>
      <vt:variant>
        <vt:i4>7</vt:i4>
      </vt:variant>
      <vt:variant>
        <vt:lpstr>Embedded OLE Servers</vt:lpstr>
      </vt:variant>
      <vt:variant>
        <vt:i4>1</vt:i4>
      </vt:variant>
      <vt:variant>
        <vt:lpstr>Slide Titles</vt:lpstr>
      </vt:variant>
      <vt:variant>
        <vt:i4>22</vt:i4>
      </vt:variant>
    </vt:vector>
  </HeadingPairs>
  <TitlesOfParts>
    <vt:vector size="45" baseType="lpstr">
      <vt:lpstr>96 Sans</vt:lpstr>
      <vt:lpstr>96 Sans Light</vt:lpstr>
      <vt:lpstr>Arial</vt:lpstr>
      <vt:lpstr>Avenir</vt:lpstr>
      <vt:lpstr>Bahnschrift SemiBold</vt:lpstr>
      <vt:lpstr>Calibri</vt:lpstr>
      <vt:lpstr>Calibri Light</vt:lpstr>
      <vt:lpstr>Gilroy</vt:lpstr>
      <vt:lpstr>Google Sans</vt:lpstr>
      <vt:lpstr>Open Sans</vt:lpstr>
      <vt:lpstr>Roboto</vt:lpstr>
      <vt:lpstr>Symbol</vt:lpstr>
      <vt:lpstr>Times New Roman</vt:lpstr>
      <vt:lpstr>Whitney SSm A</vt:lpstr>
      <vt:lpstr>Wingdings</vt:lpstr>
      <vt:lpstr>DATE</vt:lpstr>
      <vt:lpstr>DATE 01 A</vt:lpstr>
      <vt:lpstr>DATE 01 B</vt:lpstr>
      <vt:lpstr>DATE 01 C</vt:lpstr>
      <vt:lpstr>DATE 01 D</vt:lpstr>
      <vt:lpstr>DATE 01 E</vt:lpstr>
      <vt:lpstr>1_DATE 01 E</vt:lpstr>
      <vt:lpstr>think-cell Slide</vt:lpstr>
      <vt:lpstr>Data Governance at Progressive</vt:lpstr>
      <vt:lpstr>PowerPoint Presentation</vt:lpstr>
      <vt:lpstr>PowerPoint Presentation</vt:lpstr>
      <vt:lpstr>At Progressive, we have “Reverence for Data”</vt:lpstr>
      <vt:lpstr>Treat Data as an Asset</vt:lpstr>
      <vt:lpstr>What is Data Governance?</vt:lpstr>
      <vt:lpstr>We need to treat and manage data as our core asset</vt:lpstr>
      <vt:lpstr>PowerPoint Presentation</vt:lpstr>
      <vt:lpstr>DG Organizational Structure</vt:lpstr>
      <vt:lpstr>DG Community Roles</vt:lpstr>
      <vt:lpstr>Data Governance Site - DataGov/</vt:lpstr>
      <vt:lpstr>Data Governance Framework – DataEngagement/</vt:lpstr>
      <vt:lpstr>Data Engagement Lifecycle – Integrated in Project Methodologies</vt:lpstr>
      <vt:lpstr>Data Governance Capabilities and Processes</vt:lpstr>
      <vt:lpstr>Questions?</vt:lpstr>
      <vt:lpstr>PowerPoint Presentation</vt:lpstr>
      <vt:lpstr>PowerPoint Presentation</vt:lpstr>
      <vt:lpstr>Enabling DG Efficiencies – Business Glossary</vt:lpstr>
      <vt:lpstr>Business Glossary</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ileen M O'Connor</dc:creator>
  <cp:lastModifiedBy>Karen M Jensen</cp:lastModifiedBy>
  <cp:revision>11</cp:revision>
  <dcterms:created xsi:type="dcterms:W3CDTF">2022-05-03T18:19:11Z</dcterms:created>
  <dcterms:modified xsi:type="dcterms:W3CDTF">2024-04-29T18:44: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8F7D20788402B46B9D0CEE17BFB9DE5</vt:lpwstr>
  </property>
  <property fmtid="{D5CDD505-2E9C-101B-9397-08002B2CF9AE}" pid="3" name="_dlc_DocIdItemGuid">
    <vt:lpwstr>db605d38-0f63-4777-8cf0-84ca18552ddd</vt:lpwstr>
  </property>
</Properties>
</file>